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3.xml" ContentType="application/vnd.openxmlformats-officedocument.presentationml.tags+xml"/>
  <Override PartName="/ppt/notesSlides/notesSlide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notesSlides/notesSlide3.xml" ContentType="application/vnd.openxmlformats-officedocument.presentationml.notesSlide+xml"/>
  <Override PartName="/ppt/tags/tag129.xml" ContentType="application/vnd.openxmlformats-officedocument.presentationml.tags+xml"/>
  <Override PartName="/ppt/notesSlides/notesSlide4.xml" ContentType="application/vnd.openxmlformats-officedocument.presentationml.notesSlide+xml"/>
  <Override PartName="/ppt/tags/tag130.xml" ContentType="application/vnd.openxmlformats-officedocument.presentationml.tags+xml"/>
  <Override PartName="/ppt/notesSlides/notesSlide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6.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7.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0" r:id="rId5"/>
    <p:sldMasterId id="2147483678" r:id="rId6"/>
    <p:sldMasterId id="2147483687" r:id="rId7"/>
    <p:sldMasterId id="2147483696" r:id="rId8"/>
    <p:sldMasterId id="2147483705" r:id="rId9"/>
    <p:sldMasterId id="2147483714" r:id="rId10"/>
    <p:sldMasterId id="2147483723" r:id="rId11"/>
    <p:sldMasterId id="2147483732" r:id="rId12"/>
    <p:sldMasterId id="2147483741" r:id="rId13"/>
  </p:sldMasterIdLst>
  <p:notesMasterIdLst>
    <p:notesMasterId r:id="rId26"/>
  </p:notesMasterIdLst>
  <p:handoutMasterIdLst>
    <p:handoutMasterId r:id="rId27"/>
  </p:handoutMasterIdLst>
  <p:sldIdLst>
    <p:sldId id="2490" r:id="rId14"/>
    <p:sldId id="2152" r:id="rId15"/>
    <p:sldId id="2148" r:id="rId16"/>
    <p:sldId id="2154" r:id="rId17"/>
    <p:sldId id="2491" r:id="rId18"/>
    <p:sldId id="2492" r:id="rId19"/>
    <p:sldId id="2493" r:id="rId20"/>
    <p:sldId id="2494" r:id="rId21"/>
    <p:sldId id="1930" r:id="rId22"/>
    <p:sldId id="2251" r:id="rId23"/>
    <p:sldId id="1598" r:id="rId24"/>
    <p:sldId id="2213"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FFE48F"/>
    <a:srgbClr val="FF0000"/>
    <a:srgbClr val="00B050"/>
    <a:srgbClr val="F7F7F7"/>
    <a:srgbClr val="EBF2FF"/>
    <a:srgbClr val="C00000"/>
    <a:srgbClr val="FFC000"/>
    <a:srgbClr val="E5F4D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54F929-AFDE-4E24-ABE8-9EC71FDECF33}" v="2" dt="2023-10-05T03:07:26.231"/>
    <p1510:client id="{E65BC69C-3138-43E6-BAE8-31FBB05A397C}" v="1" dt="2023-10-05T03:43:19.931"/>
    <p1510:client id="{EB96D462-0798-4F2A-A2A8-8BDE27500008}" v="39" dt="2023-10-05T02:48:52.2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18" autoAdjust="0"/>
    <p:restoredTop sz="94987" autoAdjust="0"/>
  </p:normalViewPr>
  <p:slideViewPr>
    <p:cSldViewPr snapToGrid="0">
      <p:cViewPr varScale="1">
        <p:scale>
          <a:sx n="56" d="100"/>
          <a:sy n="56" d="100"/>
        </p:scale>
        <p:origin x="964"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1149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8.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2CD95218-941C-4820-B0D1-138B992882CB}"/>
    <pc:docChg chg="undo custSel addSld delSld modSld">
      <pc:chgData name="Aurelien Domont" userId="6da7715ce44349b3" providerId="LiveId" clId="{2CD95218-941C-4820-B0D1-138B992882CB}" dt="2021-04-20T04:46:31.521" v="4027" actId="20577"/>
      <pc:docMkLst>
        <pc:docMk/>
      </pc:docMkLst>
      <pc:sldChg chg="modSp mod">
        <pc:chgData name="Aurelien Domont" userId="6da7715ce44349b3" providerId="LiveId" clId="{2CD95218-941C-4820-B0D1-138B992882CB}" dt="2021-04-20T02:14:12.068" v="1316" actId="20577"/>
        <pc:sldMkLst>
          <pc:docMk/>
          <pc:sldMk cId="3131901387" sldId="256"/>
        </pc:sldMkLst>
        <pc:spChg chg="mod">
          <ac:chgData name="Aurelien Domont" userId="6da7715ce44349b3" providerId="LiveId" clId="{2CD95218-941C-4820-B0D1-138B992882CB}" dt="2021-04-20T02:14:12.068" v="1316" actId="20577"/>
          <ac:spMkLst>
            <pc:docMk/>
            <pc:sldMk cId="3131901387" sldId="256"/>
            <ac:spMk id="2" creationId="{5261080C-C60C-4746-B6B1-A9A4FFA86785}"/>
          </ac:spMkLst>
        </pc:spChg>
      </pc:sldChg>
      <pc:sldChg chg="del">
        <pc:chgData name="Aurelien Domont" userId="6da7715ce44349b3" providerId="LiveId" clId="{2CD95218-941C-4820-B0D1-138B992882CB}" dt="2021-04-16T06:18:44.844" v="0" actId="47"/>
        <pc:sldMkLst>
          <pc:docMk/>
          <pc:sldMk cId="2658212128" sldId="1531"/>
        </pc:sldMkLst>
      </pc:sldChg>
      <pc:sldChg chg="del">
        <pc:chgData name="Aurelien Domont" userId="6da7715ce44349b3" providerId="LiveId" clId="{2CD95218-941C-4820-B0D1-138B992882CB}" dt="2021-04-16T06:18:44.844" v="0" actId="47"/>
        <pc:sldMkLst>
          <pc:docMk/>
          <pc:sldMk cId="495896922" sldId="1566"/>
        </pc:sldMkLst>
      </pc:sldChg>
      <pc:sldChg chg="add">
        <pc:chgData name="Aurelien Domont" userId="6da7715ce44349b3" providerId="LiveId" clId="{2CD95218-941C-4820-B0D1-138B992882CB}" dt="2021-04-19T06:45:22.049" v="1192"/>
        <pc:sldMkLst>
          <pc:docMk/>
          <pc:sldMk cId="3692499981" sldId="1597"/>
        </pc:sldMkLst>
      </pc:sldChg>
      <pc:sldChg chg="add del">
        <pc:chgData name="Aurelien Domont" userId="6da7715ce44349b3" providerId="LiveId" clId="{2CD95218-941C-4820-B0D1-138B992882CB}" dt="2021-04-19T06:45:22.049" v="1192"/>
        <pc:sldMkLst>
          <pc:docMk/>
          <pc:sldMk cId="1754585881" sldId="1598"/>
        </pc:sldMkLst>
      </pc:sldChg>
      <pc:sldChg chg="add del">
        <pc:chgData name="Aurelien Domont" userId="6da7715ce44349b3" providerId="LiveId" clId="{2CD95218-941C-4820-B0D1-138B992882CB}" dt="2021-04-19T06:45:22.049" v="1192"/>
        <pc:sldMkLst>
          <pc:docMk/>
          <pc:sldMk cId="748962572" sldId="1599"/>
        </pc:sldMkLst>
      </pc:sldChg>
      <pc:sldChg chg="del">
        <pc:chgData name="Aurelien Domont" userId="6da7715ce44349b3" providerId="LiveId" clId="{2CD95218-941C-4820-B0D1-138B992882CB}" dt="2021-04-19T06:45:24.307" v="1193" actId="47"/>
        <pc:sldMkLst>
          <pc:docMk/>
          <pc:sldMk cId="2853806433" sldId="1600"/>
        </pc:sldMkLst>
      </pc:sldChg>
      <pc:sldChg chg="del">
        <pc:chgData name="Aurelien Domont" userId="6da7715ce44349b3" providerId="LiveId" clId="{2CD95218-941C-4820-B0D1-138B992882CB}" dt="2021-04-16T06:19:49.656" v="14" actId="47"/>
        <pc:sldMkLst>
          <pc:docMk/>
          <pc:sldMk cId="2550332876" sldId="1666"/>
        </pc:sldMkLst>
      </pc:sldChg>
      <pc:sldChg chg="del">
        <pc:chgData name="Aurelien Domont" userId="6da7715ce44349b3" providerId="LiveId" clId="{2CD95218-941C-4820-B0D1-138B992882CB}" dt="2021-04-16T06:18:44.844" v="0" actId="47"/>
        <pc:sldMkLst>
          <pc:docMk/>
          <pc:sldMk cId="1840726201" sldId="1710"/>
        </pc:sldMkLst>
      </pc:sldChg>
      <pc:sldChg chg="del">
        <pc:chgData name="Aurelien Domont" userId="6da7715ce44349b3" providerId="LiveId" clId="{2CD95218-941C-4820-B0D1-138B992882CB}" dt="2021-04-16T06:19:49.656" v="14" actId="47"/>
        <pc:sldMkLst>
          <pc:docMk/>
          <pc:sldMk cId="3582862380" sldId="1721"/>
        </pc:sldMkLst>
      </pc:sldChg>
      <pc:sldChg chg="del">
        <pc:chgData name="Aurelien Domont" userId="6da7715ce44349b3" providerId="LiveId" clId="{2CD95218-941C-4820-B0D1-138B992882CB}" dt="2021-04-16T06:19:49.656" v="14" actId="47"/>
        <pc:sldMkLst>
          <pc:docMk/>
          <pc:sldMk cId="2410734669" sldId="1722"/>
        </pc:sldMkLst>
      </pc:sldChg>
      <pc:sldChg chg="del">
        <pc:chgData name="Aurelien Domont" userId="6da7715ce44349b3" providerId="LiveId" clId="{2CD95218-941C-4820-B0D1-138B992882CB}" dt="2021-04-16T06:19:49.656" v="14" actId="47"/>
        <pc:sldMkLst>
          <pc:docMk/>
          <pc:sldMk cId="1126708650" sldId="1723"/>
        </pc:sldMkLst>
      </pc:sldChg>
      <pc:sldChg chg="del">
        <pc:chgData name="Aurelien Domont" userId="6da7715ce44349b3" providerId="LiveId" clId="{2CD95218-941C-4820-B0D1-138B992882CB}" dt="2021-04-16T06:19:49.656" v="14" actId="47"/>
        <pc:sldMkLst>
          <pc:docMk/>
          <pc:sldMk cId="706002708" sldId="1724"/>
        </pc:sldMkLst>
      </pc:sldChg>
      <pc:sldChg chg="del">
        <pc:chgData name="Aurelien Domont" userId="6da7715ce44349b3" providerId="LiveId" clId="{2CD95218-941C-4820-B0D1-138B992882CB}" dt="2021-04-16T06:19:49.656" v="14" actId="47"/>
        <pc:sldMkLst>
          <pc:docMk/>
          <pc:sldMk cId="1730165850" sldId="1735"/>
        </pc:sldMkLst>
      </pc:sldChg>
      <pc:sldChg chg="del">
        <pc:chgData name="Aurelien Domont" userId="6da7715ce44349b3" providerId="LiveId" clId="{2CD95218-941C-4820-B0D1-138B992882CB}" dt="2021-04-16T06:19:49.656" v="14" actId="47"/>
        <pc:sldMkLst>
          <pc:docMk/>
          <pc:sldMk cId="2432023707" sldId="1736"/>
        </pc:sldMkLst>
      </pc:sldChg>
      <pc:sldChg chg="del">
        <pc:chgData name="Aurelien Domont" userId="6da7715ce44349b3" providerId="LiveId" clId="{2CD95218-941C-4820-B0D1-138B992882CB}" dt="2021-04-16T06:19:49.656" v="14" actId="47"/>
        <pc:sldMkLst>
          <pc:docMk/>
          <pc:sldMk cId="1872475671" sldId="1739"/>
        </pc:sldMkLst>
      </pc:sldChg>
      <pc:sldChg chg="del">
        <pc:chgData name="Aurelien Domont" userId="6da7715ce44349b3" providerId="LiveId" clId="{2CD95218-941C-4820-B0D1-138B992882CB}" dt="2021-04-16T06:18:44.844" v="0" actId="47"/>
        <pc:sldMkLst>
          <pc:docMk/>
          <pc:sldMk cId="2800619671" sldId="1791"/>
        </pc:sldMkLst>
      </pc:sldChg>
      <pc:sldChg chg="del">
        <pc:chgData name="Aurelien Domont" userId="6da7715ce44349b3" providerId="LiveId" clId="{2CD95218-941C-4820-B0D1-138B992882CB}" dt="2021-04-16T06:18:44.844" v="0" actId="47"/>
        <pc:sldMkLst>
          <pc:docMk/>
          <pc:sldMk cId="2053744905" sldId="1792"/>
        </pc:sldMkLst>
      </pc:sldChg>
      <pc:sldChg chg="del">
        <pc:chgData name="Aurelien Domont" userId="6da7715ce44349b3" providerId="LiveId" clId="{2CD95218-941C-4820-B0D1-138B992882CB}" dt="2021-04-16T06:18:44.844" v="0" actId="47"/>
        <pc:sldMkLst>
          <pc:docMk/>
          <pc:sldMk cId="634347229" sldId="1793"/>
        </pc:sldMkLst>
      </pc:sldChg>
      <pc:sldChg chg="del">
        <pc:chgData name="Aurelien Domont" userId="6da7715ce44349b3" providerId="LiveId" clId="{2CD95218-941C-4820-B0D1-138B992882CB}" dt="2021-04-16T06:18:44.844" v="0" actId="47"/>
        <pc:sldMkLst>
          <pc:docMk/>
          <pc:sldMk cId="1177379520" sldId="1794"/>
        </pc:sldMkLst>
      </pc:sldChg>
      <pc:sldChg chg="del">
        <pc:chgData name="Aurelien Domont" userId="6da7715ce44349b3" providerId="LiveId" clId="{2CD95218-941C-4820-B0D1-138B992882CB}" dt="2021-04-16T06:18:44.844" v="0" actId="47"/>
        <pc:sldMkLst>
          <pc:docMk/>
          <pc:sldMk cId="3316732474" sldId="1795"/>
        </pc:sldMkLst>
      </pc:sldChg>
      <pc:sldChg chg="del">
        <pc:chgData name="Aurelien Domont" userId="6da7715ce44349b3" providerId="LiveId" clId="{2CD95218-941C-4820-B0D1-138B992882CB}" dt="2021-04-16T06:18:44.844" v="0" actId="47"/>
        <pc:sldMkLst>
          <pc:docMk/>
          <pc:sldMk cId="2547291190" sldId="1796"/>
        </pc:sldMkLst>
      </pc:sldChg>
      <pc:sldChg chg="del">
        <pc:chgData name="Aurelien Domont" userId="6da7715ce44349b3" providerId="LiveId" clId="{2CD95218-941C-4820-B0D1-138B992882CB}" dt="2021-04-16T06:18:44.844" v="0" actId="47"/>
        <pc:sldMkLst>
          <pc:docMk/>
          <pc:sldMk cId="2824818284" sldId="1797"/>
        </pc:sldMkLst>
      </pc:sldChg>
      <pc:sldChg chg="del">
        <pc:chgData name="Aurelien Domont" userId="6da7715ce44349b3" providerId="LiveId" clId="{2CD95218-941C-4820-B0D1-138B992882CB}" dt="2021-04-16T06:19:49.656" v="14" actId="47"/>
        <pc:sldMkLst>
          <pc:docMk/>
          <pc:sldMk cId="3842700078" sldId="1814"/>
        </pc:sldMkLst>
      </pc:sldChg>
      <pc:sldChg chg="del">
        <pc:chgData name="Aurelien Domont" userId="6da7715ce44349b3" providerId="LiveId" clId="{2CD95218-941C-4820-B0D1-138B992882CB}" dt="2021-04-16T06:19:49.656" v="14" actId="47"/>
        <pc:sldMkLst>
          <pc:docMk/>
          <pc:sldMk cId="2757490807" sldId="1815"/>
        </pc:sldMkLst>
      </pc:sldChg>
      <pc:sldChg chg="del">
        <pc:chgData name="Aurelien Domont" userId="6da7715ce44349b3" providerId="LiveId" clId="{2CD95218-941C-4820-B0D1-138B992882CB}" dt="2021-04-16T06:19:49.656" v="14" actId="47"/>
        <pc:sldMkLst>
          <pc:docMk/>
          <pc:sldMk cId="4157566746" sldId="1816"/>
        </pc:sldMkLst>
      </pc:sldChg>
      <pc:sldChg chg="del">
        <pc:chgData name="Aurelien Domont" userId="6da7715ce44349b3" providerId="LiveId" clId="{2CD95218-941C-4820-B0D1-138B992882CB}" dt="2021-04-16T06:19:49.656" v="14" actId="47"/>
        <pc:sldMkLst>
          <pc:docMk/>
          <pc:sldMk cId="3107058033" sldId="1817"/>
        </pc:sldMkLst>
      </pc:sldChg>
      <pc:sldChg chg="del">
        <pc:chgData name="Aurelien Domont" userId="6da7715ce44349b3" providerId="LiveId" clId="{2CD95218-941C-4820-B0D1-138B992882CB}" dt="2021-04-16T06:19:49.656" v="14" actId="47"/>
        <pc:sldMkLst>
          <pc:docMk/>
          <pc:sldMk cId="4103277597" sldId="1818"/>
        </pc:sldMkLst>
      </pc:sldChg>
      <pc:sldChg chg="del">
        <pc:chgData name="Aurelien Domont" userId="6da7715ce44349b3" providerId="LiveId" clId="{2CD95218-941C-4820-B0D1-138B992882CB}" dt="2021-04-16T06:19:49.656" v="14" actId="47"/>
        <pc:sldMkLst>
          <pc:docMk/>
          <pc:sldMk cId="801108890" sldId="1819"/>
        </pc:sldMkLst>
      </pc:sldChg>
      <pc:sldChg chg="del">
        <pc:chgData name="Aurelien Domont" userId="6da7715ce44349b3" providerId="LiveId" clId="{2CD95218-941C-4820-B0D1-138B992882CB}" dt="2021-04-16T06:19:49.656" v="14" actId="47"/>
        <pc:sldMkLst>
          <pc:docMk/>
          <pc:sldMk cId="367906651" sldId="1820"/>
        </pc:sldMkLst>
      </pc:sldChg>
      <pc:sldChg chg="del">
        <pc:chgData name="Aurelien Domont" userId="6da7715ce44349b3" providerId="LiveId" clId="{2CD95218-941C-4820-B0D1-138B992882CB}" dt="2021-04-16T06:19:49.656" v="14" actId="47"/>
        <pc:sldMkLst>
          <pc:docMk/>
          <pc:sldMk cId="402213051" sldId="1821"/>
        </pc:sldMkLst>
      </pc:sldChg>
      <pc:sldChg chg="del">
        <pc:chgData name="Aurelien Domont" userId="6da7715ce44349b3" providerId="LiveId" clId="{2CD95218-941C-4820-B0D1-138B992882CB}" dt="2021-04-16T06:19:49.656" v="14" actId="47"/>
        <pc:sldMkLst>
          <pc:docMk/>
          <pc:sldMk cId="3606917136" sldId="1822"/>
        </pc:sldMkLst>
      </pc:sldChg>
      <pc:sldChg chg="del">
        <pc:chgData name="Aurelien Domont" userId="6da7715ce44349b3" providerId="LiveId" clId="{2CD95218-941C-4820-B0D1-138B992882CB}" dt="2021-04-16T06:19:49.656" v="14" actId="47"/>
        <pc:sldMkLst>
          <pc:docMk/>
          <pc:sldMk cId="3007841957" sldId="1823"/>
        </pc:sldMkLst>
      </pc:sldChg>
      <pc:sldChg chg="del">
        <pc:chgData name="Aurelien Domont" userId="6da7715ce44349b3" providerId="LiveId" clId="{2CD95218-941C-4820-B0D1-138B992882CB}" dt="2021-04-16T06:18:44.844" v="0" actId="47"/>
        <pc:sldMkLst>
          <pc:docMk/>
          <pc:sldMk cId="4285708033" sldId="1874"/>
        </pc:sldMkLst>
      </pc:sldChg>
      <pc:sldChg chg="del">
        <pc:chgData name="Aurelien Domont" userId="6da7715ce44349b3" providerId="LiveId" clId="{2CD95218-941C-4820-B0D1-138B992882CB}" dt="2021-04-16T06:18:44.844" v="0" actId="47"/>
        <pc:sldMkLst>
          <pc:docMk/>
          <pc:sldMk cId="2925381827" sldId="1875"/>
        </pc:sldMkLst>
      </pc:sldChg>
      <pc:sldChg chg="del">
        <pc:chgData name="Aurelien Domont" userId="6da7715ce44349b3" providerId="LiveId" clId="{2CD95218-941C-4820-B0D1-138B992882CB}" dt="2021-04-16T06:18:44.844" v="0" actId="47"/>
        <pc:sldMkLst>
          <pc:docMk/>
          <pc:sldMk cId="3550908072" sldId="1876"/>
        </pc:sldMkLst>
      </pc:sldChg>
      <pc:sldChg chg="del">
        <pc:chgData name="Aurelien Domont" userId="6da7715ce44349b3" providerId="LiveId" clId="{2CD95218-941C-4820-B0D1-138B992882CB}" dt="2021-04-16T06:18:44.844" v="0" actId="47"/>
        <pc:sldMkLst>
          <pc:docMk/>
          <pc:sldMk cId="2373808417" sldId="1877"/>
        </pc:sldMkLst>
      </pc:sldChg>
      <pc:sldChg chg="del">
        <pc:chgData name="Aurelien Domont" userId="6da7715ce44349b3" providerId="LiveId" clId="{2CD95218-941C-4820-B0D1-138B992882CB}" dt="2021-04-16T06:18:44.844" v="0" actId="47"/>
        <pc:sldMkLst>
          <pc:docMk/>
          <pc:sldMk cId="1488264477" sldId="1878"/>
        </pc:sldMkLst>
      </pc:sldChg>
      <pc:sldChg chg="del">
        <pc:chgData name="Aurelien Domont" userId="6da7715ce44349b3" providerId="LiveId" clId="{2CD95218-941C-4820-B0D1-138B992882CB}" dt="2021-04-16T06:18:44.844" v="0" actId="47"/>
        <pc:sldMkLst>
          <pc:docMk/>
          <pc:sldMk cId="3464794184" sldId="1879"/>
        </pc:sldMkLst>
      </pc:sldChg>
      <pc:sldChg chg="del">
        <pc:chgData name="Aurelien Domont" userId="6da7715ce44349b3" providerId="LiveId" clId="{2CD95218-941C-4820-B0D1-138B992882CB}" dt="2021-04-16T06:18:44.844" v="0" actId="47"/>
        <pc:sldMkLst>
          <pc:docMk/>
          <pc:sldMk cId="128101654" sldId="1917"/>
        </pc:sldMkLst>
      </pc:sldChg>
      <pc:sldChg chg="del">
        <pc:chgData name="Aurelien Domont" userId="6da7715ce44349b3" providerId="LiveId" clId="{2CD95218-941C-4820-B0D1-138B992882CB}" dt="2021-04-16T06:18:44.844" v="0" actId="47"/>
        <pc:sldMkLst>
          <pc:docMk/>
          <pc:sldMk cId="3001806462" sldId="1918"/>
        </pc:sldMkLst>
      </pc:sldChg>
      <pc:sldChg chg="del">
        <pc:chgData name="Aurelien Domont" userId="6da7715ce44349b3" providerId="LiveId" clId="{2CD95218-941C-4820-B0D1-138B992882CB}" dt="2021-04-16T06:18:44.844" v="0" actId="47"/>
        <pc:sldMkLst>
          <pc:docMk/>
          <pc:sldMk cId="3097907417" sldId="1919"/>
        </pc:sldMkLst>
      </pc:sldChg>
      <pc:sldChg chg="del">
        <pc:chgData name="Aurelien Domont" userId="6da7715ce44349b3" providerId="LiveId" clId="{2CD95218-941C-4820-B0D1-138B992882CB}" dt="2021-04-16T06:18:44.844" v="0" actId="47"/>
        <pc:sldMkLst>
          <pc:docMk/>
          <pc:sldMk cId="1909067171" sldId="1920"/>
        </pc:sldMkLst>
      </pc:sldChg>
      <pc:sldChg chg="del">
        <pc:chgData name="Aurelien Domont" userId="6da7715ce44349b3" providerId="LiveId" clId="{2CD95218-941C-4820-B0D1-138B992882CB}" dt="2021-04-16T06:18:44.844" v="0" actId="47"/>
        <pc:sldMkLst>
          <pc:docMk/>
          <pc:sldMk cId="2409624465" sldId="1921"/>
        </pc:sldMkLst>
      </pc:sldChg>
      <pc:sldChg chg="del">
        <pc:chgData name="Aurelien Domont" userId="6da7715ce44349b3" providerId="LiveId" clId="{2CD95218-941C-4820-B0D1-138B992882CB}" dt="2021-04-16T06:18:44.844" v="0" actId="47"/>
        <pc:sldMkLst>
          <pc:docMk/>
          <pc:sldMk cId="3984149574" sldId="1922"/>
        </pc:sldMkLst>
      </pc:sldChg>
      <pc:sldChg chg="del">
        <pc:chgData name="Aurelien Domont" userId="6da7715ce44349b3" providerId="LiveId" clId="{2CD95218-941C-4820-B0D1-138B992882CB}" dt="2021-04-16T06:18:44.844" v="0" actId="47"/>
        <pc:sldMkLst>
          <pc:docMk/>
          <pc:sldMk cId="1511118348" sldId="1923"/>
        </pc:sldMkLst>
      </pc:sldChg>
      <pc:sldChg chg="del">
        <pc:chgData name="Aurelien Domont" userId="6da7715ce44349b3" providerId="LiveId" clId="{2CD95218-941C-4820-B0D1-138B992882CB}" dt="2021-04-16T06:18:44.844" v="0" actId="47"/>
        <pc:sldMkLst>
          <pc:docMk/>
          <pc:sldMk cId="2227961316" sldId="1924"/>
        </pc:sldMkLst>
      </pc:sldChg>
      <pc:sldChg chg="del">
        <pc:chgData name="Aurelien Domont" userId="6da7715ce44349b3" providerId="LiveId" clId="{2CD95218-941C-4820-B0D1-138B992882CB}" dt="2021-04-16T06:18:44.844" v="0" actId="47"/>
        <pc:sldMkLst>
          <pc:docMk/>
          <pc:sldMk cId="30673312" sldId="1925"/>
        </pc:sldMkLst>
      </pc:sldChg>
      <pc:sldChg chg="del">
        <pc:chgData name="Aurelien Domont" userId="6da7715ce44349b3" providerId="LiveId" clId="{2CD95218-941C-4820-B0D1-138B992882CB}" dt="2021-04-16T06:18:44.844" v="0" actId="47"/>
        <pc:sldMkLst>
          <pc:docMk/>
          <pc:sldMk cId="575345008" sldId="1926"/>
        </pc:sldMkLst>
      </pc:sldChg>
      <pc:sldChg chg="del">
        <pc:chgData name="Aurelien Domont" userId="6da7715ce44349b3" providerId="LiveId" clId="{2CD95218-941C-4820-B0D1-138B992882CB}" dt="2021-04-16T06:18:44.844" v="0" actId="47"/>
        <pc:sldMkLst>
          <pc:docMk/>
          <pc:sldMk cId="3066766312" sldId="1927"/>
        </pc:sldMkLst>
      </pc:sldChg>
      <pc:sldChg chg="addSp delSp modSp del mod">
        <pc:chgData name="Aurelien Domont" userId="6da7715ce44349b3" providerId="LiveId" clId="{2CD95218-941C-4820-B0D1-138B992882CB}" dt="2021-04-20T04:00:14.754" v="2741" actId="47"/>
        <pc:sldMkLst>
          <pc:docMk/>
          <pc:sldMk cId="1151893028" sldId="1928"/>
        </pc:sldMkLst>
        <pc:spChg chg="add del">
          <ac:chgData name="Aurelien Domont" userId="6da7715ce44349b3" providerId="LiveId" clId="{2CD95218-941C-4820-B0D1-138B992882CB}" dt="2021-04-20T03:31:24.344" v="1627" actId="478"/>
          <ac:spMkLst>
            <pc:docMk/>
            <pc:sldMk cId="1151893028" sldId="1928"/>
            <ac:spMk id="2" creationId="{91E79B9A-E64E-4BF3-BEDD-2D1D1F00C493}"/>
          </ac:spMkLst>
        </pc:spChg>
        <pc:spChg chg="del mod">
          <ac:chgData name="Aurelien Domont" userId="6da7715ce44349b3" providerId="LiveId" clId="{2CD95218-941C-4820-B0D1-138B992882CB}" dt="2021-04-16T06:31:51.536" v="278" actId="478"/>
          <ac:spMkLst>
            <pc:docMk/>
            <pc:sldMk cId="1151893028" sldId="1928"/>
            <ac:spMk id="2" creationId="{C8042D7C-02C6-41CC-9707-C9C5F6FA269D}"/>
          </ac:spMkLst>
        </pc:spChg>
        <pc:spChg chg="del">
          <ac:chgData name="Aurelien Domont" userId="6da7715ce44349b3" providerId="LiveId" clId="{2CD95218-941C-4820-B0D1-138B992882CB}" dt="2021-04-20T03:35:20.709" v="1689" actId="478"/>
          <ac:spMkLst>
            <pc:docMk/>
            <pc:sldMk cId="1151893028" sldId="1928"/>
            <ac:spMk id="3" creationId="{CE2529A3-BA97-486F-9E02-8DFAAA7D8D38}"/>
          </ac:spMkLst>
        </pc:spChg>
        <pc:spChg chg="add mod">
          <ac:chgData name="Aurelien Domont" userId="6da7715ce44349b3" providerId="LiveId" clId="{2CD95218-941C-4820-B0D1-138B992882CB}" dt="2021-04-20T03:52:16.374" v="2530" actId="20577"/>
          <ac:spMkLst>
            <pc:docMk/>
            <pc:sldMk cId="1151893028" sldId="1928"/>
            <ac:spMk id="6" creationId="{C3CDFF47-2BDF-481B-8C77-A2EE049FF74B}"/>
          </ac:spMkLst>
        </pc:spChg>
        <pc:spChg chg="add del mod">
          <ac:chgData name="Aurelien Domont" userId="6da7715ce44349b3" providerId="LiveId" clId="{2CD95218-941C-4820-B0D1-138B992882CB}" dt="2021-04-20T03:30:36.612" v="1523" actId="478"/>
          <ac:spMkLst>
            <pc:docMk/>
            <pc:sldMk cId="1151893028" sldId="1928"/>
            <ac:spMk id="7" creationId="{120574EB-CBD3-4F45-8CFD-E60A7C4B6D41}"/>
          </ac:spMkLst>
        </pc:spChg>
        <pc:spChg chg="add mod">
          <ac:chgData name="Aurelien Domont" userId="6da7715ce44349b3" providerId="LiveId" clId="{2CD95218-941C-4820-B0D1-138B992882CB}" dt="2021-04-20T03:49:05.885" v="2381" actId="1076"/>
          <ac:spMkLst>
            <pc:docMk/>
            <pc:sldMk cId="1151893028" sldId="1928"/>
            <ac:spMk id="11" creationId="{CC20D042-C261-40FA-9AD5-C92E9BBE6615}"/>
          </ac:spMkLst>
        </pc:spChg>
        <pc:spChg chg="add del mod">
          <ac:chgData name="Aurelien Domont" userId="6da7715ce44349b3" providerId="LiveId" clId="{2CD95218-941C-4820-B0D1-138B992882CB}" dt="2021-04-20T03:35:19.204" v="1688" actId="478"/>
          <ac:spMkLst>
            <pc:docMk/>
            <pc:sldMk cId="1151893028" sldId="1928"/>
            <ac:spMk id="12" creationId="{263526D0-4E30-44A1-B849-A8A648050655}"/>
          </ac:spMkLst>
        </pc:spChg>
        <pc:spChg chg="add del mod">
          <ac:chgData name="Aurelien Domont" userId="6da7715ce44349b3" providerId="LiveId" clId="{2CD95218-941C-4820-B0D1-138B992882CB}" dt="2021-04-20T03:35:19.204" v="1688" actId="478"/>
          <ac:spMkLst>
            <pc:docMk/>
            <pc:sldMk cId="1151893028" sldId="1928"/>
            <ac:spMk id="14" creationId="{4888DBE3-F1E1-4D55-8FB7-2EA43E6567A1}"/>
          </ac:spMkLst>
        </pc:spChg>
        <pc:spChg chg="add del mod">
          <ac:chgData name="Aurelien Domont" userId="6da7715ce44349b3" providerId="LiveId" clId="{2CD95218-941C-4820-B0D1-138B992882CB}" dt="2021-04-20T03:35:22.292" v="1690" actId="478"/>
          <ac:spMkLst>
            <pc:docMk/>
            <pc:sldMk cId="1151893028" sldId="1928"/>
            <ac:spMk id="15" creationId="{EB71D23C-62BE-463C-9803-3712DFA133DA}"/>
          </ac:spMkLst>
        </pc:spChg>
        <pc:spChg chg="mod">
          <ac:chgData name="Aurelien Domont" userId="6da7715ce44349b3" providerId="LiveId" clId="{2CD95218-941C-4820-B0D1-138B992882CB}" dt="2021-04-20T02:17:48.967" v="1421" actId="20577"/>
          <ac:spMkLst>
            <pc:docMk/>
            <pc:sldMk cId="1151893028" sldId="1928"/>
            <ac:spMk id="16" creationId="{6C2BB713-9637-4B9B-938F-E9768876782A}"/>
          </ac:spMkLst>
        </pc:spChg>
        <pc:spChg chg="add del mod">
          <ac:chgData name="Aurelien Domont" userId="6da7715ce44349b3" providerId="LiveId" clId="{2CD95218-941C-4820-B0D1-138B992882CB}" dt="2021-04-20T03:35:22.292" v="1690" actId="478"/>
          <ac:spMkLst>
            <pc:docMk/>
            <pc:sldMk cId="1151893028" sldId="1928"/>
            <ac:spMk id="17" creationId="{A13CDAE6-316A-4418-B38E-935C93F21E72}"/>
          </ac:spMkLst>
        </pc:spChg>
        <pc:spChg chg="add del mod">
          <ac:chgData name="Aurelien Domont" userId="6da7715ce44349b3" providerId="LiveId" clId="{2CD95218-941C-4820-B0D1-138B992882CB}" dt="2021-04-20T03:35:22.292" v="1690" actId="478"/>
          <ac:spMkLst>
            <pc:docMk/>
            <pc:sldMk cId="1151893028" sldId="1928"/>
            <ac:spMk id="18" creationId="{EF63D292-C598-4EB1-B2AB-3EF86BBAE4AF}"/>
          </ac:spMkLst>
        </pc:spChg>
        <pc:spChg chg="add del mod">
          <ac:chgData name="Aurelien Domont" userId="6da7715ce44349b3" providerId="LiveId" clId="{2CD95218-941C-4820-B0D1-138B992882CB}" dt="2021-04-20T03:31:24.344" v="1627" actId="478"/>
          <ac:spMkLst>
            <pc:docMk/>
            <pc:sldMk cId="1151893028" sldId="1928"/>
            <ac:spMk id="19" creationId="{FFA079E0-0D08-4268-AB74-50F3E6CA774C}"/>
          </ac:spMkLst>
        </pc:spChg>
        <pc:spChg chg="add mod">
          <ac:chgData name="Aurelien Domont" userId="6da7715ce44349b3" providerId="LiveId" clId="{2CD95218-941C-4820-B0D1-138B992882CB}" dt="2021-04-20T03:49:05.885" v="2381" actId="1076"/>
          <ac:spMkLst>
            <pc:docMk/>
            <pc:sldMk cId="1151893028" sldId="1928"/>
            <ac:spMk id="20" creationId="{C59DF6C5-D4AC-4D27-B52A-E815DD763FD8}"/>
          </ac:spMkLst>
        </pc:spChg>
        <pc:spChg chg="del">
          <ac:chgData name="Aurelien Domont" userId="6da7715ce44349b3" providerId="LiveId" clId="{2CD95218-941C-4820-B0D1-138B992882CB}" dt="2021-04-16T06:31:54.992" v="279" actId="478"/>
          <ac:spMkLst>
            <pc:docMk/>
            <pc:sldMk cId="1151893028" sldId="1928"/>
            <ac:spMk id="21" creationId="{0BEBB444-0AAC-4415-AD72-D9E834A2A1CF}"/>
          </ac:spMkLst>
        </pc:spChg>
        <pc:spChg chg="add mod">
          <ac:chgData name="Aurelien Domont" userId="6da7715ce44349b3" providerId="LiveId" clId="{2CD95218-941C-4820-B0D1-138B992882CB}" dt="2021-04-20T03:49:05.885" v="2381" actId="1076"/>
          <ac:spMkLst>
            <pc:docMk/>
            <pc:sldMk cId="1151893028" sldId="1928"/>
            <ac:spMk id="21" creationId="{F5002797-E4EA-45B8-B820-76ECE0702817}"/>
          </ac:spMkLst>
        </pc:spChg>
        <pc:spChg chg="del">
          <ac:chgData name="Aurelien Domont" userId="6da7715ce44349b3" providerId="LiveId" clId="{2CD95218-941C-4820-B0D1-138B992882CB}" dt="2021-04-16T06:31:54.992" v="279" actId="478"/>
          <ac:spMkLst>
            <pc:docMk/>
            <pc:sldMk cId="1151893028" sldId="1928"/>
            <ac:spMk id="22" creationId="{9451C740-A260-4E73-93AE-9A3732F37470}"/>
          </ac:spMkLst>
        </pc:spChg>
        <pc:spChg chg="del mod">
          <ac:chgData name="Aurelien Domont" userId="6da7715ce44349b3" providerId="LiveId" clId="{2CD95218-941C-4820-B0D1-138B992882CB}" dt="2021-04-20T02:17:32.181" v="1419" actId="478"/>
          <ac:spMkLst>
            <pc:docMk/>
            <pc:sldMk cId="1151893028" sldId="1928"/>
            <ac:spMk id="24" creationId="{5262883E-429E-4FBD-BE90-9FFFC2CD6641}"/>
          </ac:spMkLst>
        </pc:spChg>
        <pc:picChg chg="add del mod">
          <ac:chgData name="Aurelien Domont" userId="6da7715ce44349b3" providerId="LiveId" clId="{2CD95218-941C-4820-B0D1-138B992882CB}" dt="2021-04-20T03:35:19.204" v="1688" actId="478"/>
          <ac:picMkLst>
            <pc:docMk/>
            <pc:sldMk cId="1151893028" sldId="1928"/>
            <ac:picMk id="8" creationId="{47F4F950-4E52-42F0-9B6C-93E51E8C9540}"/>
          </ac:picMkLst>
        </pc:picChg>
        <pc:picChg chg="add del mod">
          <ac:chgData name="Aurelien Domont" userId="6da7715ce44349b3" providerId="LiveId" clId="{2CD95218-941C-4820-B0D1-138B992882CB}" dt="2021-04-20T03:35:19.204" v="1688" actId="478"/>
          <ac:picMkLst>
            <pc:docMk/>
            <pc:sldMk cId="1151893028" sldId="1928"/>
            <ac:picMk id="9" creationId="{D01D5425-A75C-48D5-AA24-EFF0A089C2AB}"/>
          </ac:picMkLst>
        </pc:picChg>
        <pc:picChg chg="add del mod">
          <ac:chgData name="Aurelien Domont" userId="6da7715ce44349b3" providerId="LiveId" clId="{2CD95218-941C-4820-B0D1-138B992882CB}" dt="2021-04-20T03:35:20.709" v="1689" actId="478"/>
          <ac:picMkLst>
            <pc:docMk/>
            <pc:sldMk cId="1151893028" sldId="1928"/>
            <ac:picMk id="10" creationId="{A63008E7-00A5-4716-9E99-588C481B71AD}"/>
          </ac:picMkLst>
        </pc:picChg>
      </pc:sldChg>
      <pc:sldChg chg="addSp delSp modSp mod">
        <pc:chgData name="Aurelien Domont" userId="6da7715ce44349b3" providerId="LiveId" clId="{2CD95218-941C-4820-B0D1-138B992882CB}" dt="2021-04-20T04:42:29.503" v="3977" actId="404"/>
        <pc:sldMkLst>
          <pc:docMk/>
          <pc:sldMk cId="1675062303" sldId="1929"/>
        </pc:sldMkLst>
        <pc:spChg chg="add mod">
          <ac:chgData name="Aurelien Domont" userId="6da7715ce44349b3" providerId="LiveId" clId="{2CD95218-941C-4820-B0D1-138B992882CB}" dt="2021-04-16T06:51:10.677" v="717" actId="14100"/>
          <ac:spMkLst>
            <pc:docMk/>
            <pc:sldMk cId="1675062303" sldId="1929"/>
            <ac:spMk id="6" creationId="{DEB285D0-8F6C-4E31-8EF4-24D043585532}"/>
          </ac:spMkLst>
        </pc:spChg>
        <pc:spChg chg="del mod">
          <ac:chgData name="Aurelien Domont" userId="6da7715ce44349b3" providerId="LiveId" clId="{2CD95218-941C-4820-B0D1-138B992882CB}" dt="2021-04-16T06:27:24.768" v="191" actId="478"/>
          <ac:spMkLst>
            <pc:docMk/>
            <pc:sldMk cId="1675062303" sldId="1929"/>
            <ac:spMk id="9" creationId="{58EAFEFA-DBE6-473F-BFAC-728336EDAE38}"/>
          </ac:spMkLst>
        </pc:spChg>
        <pc:spChg chg="del mod">
          <ac:chgData name="Aurelien Domont" userId="6da7715ce44349b3" providerId="LiveId" clId="{2CD95218-941C-4820-B0D1-138B992882CB}" dt="2021-04-16T06:27:24.768" v="191" actId="478"/>
          <ac:spMkLst>
            <pc:docMk/>
            <pc:sldMk cId="1675062303" sldId="1929"/>
            <ac:spMk id="10" creationId="{AE0DFF81-E86B-4CF9-B144-65C22930271A}"/>
          </ac:spMkLst>
        </pc:spChg>
        <pc:spChg chg="del mod">
          <ac:chgData name="Aurelien Domont" userId="6da7715ce44349b3" providerId="LiveId" clId="{2CD95218-941C-4820-B0D1-138B992882CB}" dt="2021-04-16T06:27:24.768" v="191" actId="478"/>
          <ac:spMkLst>
            <pc:docMk/>
            <pc:sldMk cId="1675062303" sldId="1929"/>
            <ac:spMk id="11" creationId="{24EF1AF2-9705-4FBA-B89A-BEF3922DC0AC}"/>
          </ac:spMkLst>
        </pc:spChg>
        <pc:spChg chg="del mod">
          <ac:chgData name="Aurelien Domont" userId="6da7715ce44349b3" providerId="LiveId" clId="{2CD95218-941C-4820-B0D1-138B992882CB}" dt="2021-04-16T06:27:24.768" v="191" actId="478"/>
          <ac:spMkLst>
            <pc:docMk/>
            <pc:sldMk cId="1675062303" sldId="1929"/>
            <ac:spMk id="12" creationId="{0B96AF20-2BD4-40A8-899A-A39181106A89}"/>
          </ac:spMkLst>
        </pc:spChg>
        <pc:spChg chg="del mod">
          <ac:chgData name="Aurelien Domont" userId="6da7715ce44349b3" providerId="LiveId" clId="{2CD95218-941C-4820-B0D1-138B992882CB}" dt="2021-04-16T06:27:24.768" v="191" actId="478"/>
          <ac:spMkLst>
            <pc:docMk/>
            <pc:sldMk cId="1675062303" sldId="1929"/>
            <ac:spMk id="14" creationId="{BD9FEA21-B351-4271-95D9-3BDDE5CF060B}"/>
          </ac:spMkLst>
        </pc:spChg>
        <pc:spChg chg="del mod">
          <ac:chgData name="Aurelien Domont" userId="6da7715ce44349b3" providerId="LiveId" clId="{2CD95218-941C-4820-B0D1-138B992882CB}" dt="2021-04-16T06:27:24.768" v="191" actId="478"/>
          <ac:spMkLst>
            <pc:docMk/>
            <pc:sldMk cId="1675062303" sldId="1929"/>
            <ac:spMk id="15" creationId="{14CD3CCE-9598-4F1D-B4A5-601A0ADC0F75}"/>
          </ac:spMkLst>
        </pc:spChg>
        <pc:spChg chg="mod">
          <ac:chgData name="Aurelien Domont" userId="6da7715ce44349b3" providerId="LiveId" clId="{2CD95218-941C-4820-B0D1-138B992882CB}" dt="2021-04-20T04:42:29.503" v="3977" actId="404"/>
          <ac:spMkLst>
            <pc:docMk/>
            <pc:sldMk cId="1675062303" sldId="1929"/>
            <ac:spMk id="16" creationId="{6C2BB713-9637-4B9B-938F-E9768876782A}"/>
          </ac:spMkLst>
        </pc:spChg>
        <pc:spChg chg="del mod">
          <ac:chgData name="Aurelien Domont" userId="6da7715ce44349b3" providerId="LiveId" clId="{2CD95218-941C-4820-B0D1-138B992882CB}" dt="2021-04-16T06:27:24.768" v="191" actId="478"/>
          <ac:spMkLst>
            <pc:docMk/>
            <pc:sldMk cId="1675062303" sldId="1929"/>
            <ac:spMk id="17" creationId="{2B8D1E97-9030-4071-A57F-FE1DC560F7AA}"/>
          </ac:spMkLst>
        </pc:spChg>
        <pc:spChg chg="del mod">
          <ac:chgData name="Aurelien Domont" userId="6da7715ce44349b3" providerId="LiveId" clId="{2CD95218-941C-4820-B0D1-138B992882CB}" dt="2021-04-16T06:27:24.768" v="191" actId="478"/>
          <ac:spMkLst>
            <pc:docMk/>
            <pc:sldMk cId="1675062303" sldId="1929"/>
            <ac:spMk id="18" creationId="{AB8FB9AD-2432-408F-BF04-2C5BE81AAA23}"/>
          </ac:spMkLst>
        </pc:spChg>
        <pc:spChg chg="del mod">
          <ac:chgData name="Aurelien Domont" userId="6da7715ce44349b3" providerId="LiveId" clId="{2CD95218-941C-4820-B0D1-138B992882CB}" dt="2021-04-16T06:27:24.768" v="191" actId="478"/>
          <ac:spMkLst>
            <pc:docMk/>
            <pc:sldMk cId="1675062303" sldId="1929"/>
            <ac:spMk id="19" creationId="{C2719FC7-EF22-44A3-B39E-197523B54171}"/>
          </ac:spMkLst>
        </pc:spChg>
        <pc:spChg chg="del mod">
          <ac:chgData name="Aurelien Domont" userId="6da7715ce44349b3" providerId="LiveId" clId="{2CD95218-941C-4820-B0D1-138B992882CB}" dt="2021-04-16T06:27:24.768" v="191" actId="478"/>
          <ac:spMkLst>
            <pc:docMk/>
            <pc:sldMk cId="1675062303" sldId="1929"/>
            <ac:spMk id="20" creationId="{32605EDF-E790-4369-925C-91074A443B3B}"/>
          </ac:spMkLst>
        </pc:spChg>
        <pc:spChg chg="del mod">
          <ac:chgData name="Aurelien Domont" userId="6da7715ce44349b3" providerId="LiveId" clId="{2CD95218-941C-4820-B0D1-138B992882CB}" dt="2021-04-16T06:27:24.768" v="191" actId="478"/>
          <ac:spMkLst>
            <pc:docMk/>
            <pc:sldMk cId="1675062303" sldId="1929"/>
            <ac:spMk id="23" creationId="{71EEB3D3-7A9E-4ACE-A532-E3B8FA1AF911}"/>
          </ac:spMkLst>
        </pc:spChg>
        <pc:spChg chg="del mod">
          <ac:chgData name="Aurelien Domont" userId="6da7715ce44349b3" providerId="LiveId" clId="{2CD95218-941C-4820-B0D1-138B992882CB}" dt="2021-04-16T06:27:24.768" v="191" actId="478"/>
          <ac:spMkLst>
            <pc:docMk/>
            <pc:sldMk cId="1675062303" sldId="1929"/>
            <ac:spMk id="25" creationId="{E48CC384-DBC8-4399-A0B3-F90285F2E4D8}"/>
          </ac:spMkLst>
        </pc:spChg>
        <pc:spChg chg="del mod">
          <ac:chgData name="Aurelien Domont" userId="6da7715ce44349b3" providerId="LiveId" clId="{2CD95218-941C-4820-B0D1-138B992882CB}" dt="2021-04-16T06:27:24.768" v="191" actId="478"/>
          <ac:spMkLst>
            <pc:docMk/>
            <pc:sldMk cId="1675062303" sldId="1929"/>
            <ac:spMk id="26" creationId="{75C17BE2-394B-47D3-AEB7-AE199C72213A}"/>
          </ac:spMkLst>
        </pc:spChg>
        <pc:spChg chg="del mod">
          <ac:chgData name="Aurelien Domont" userId="6da7715ce44349b3" providerId="LiveId" clId="{2CD95218-941C-4820-B0D1-138B992882CB}" dt="2021-04-16T06:27:24.768" v="191" actId="478"/>
          <ac:spMkLst>
            <pc:docMk/>
            <pc:sldMk cId="1675062303" sldId="1929"/>
            <ac:spMk id="27" creationId="{22B56EC0-CCAF-4D0B-8422-5645350E320D}"/>
          </ac:spMkLst>
        </pc:spChg>
        <pc:spChg chg="del mod">
          <ac:chgData name="Aurelien Domont" userId="6da7715ce44349b3" providerId="LiveId" clId="{2CD95218-941C-4820-B0D1-138B992882CB}" dt="2021-04-16T06:27:24.768" v="191" actId="478"/>
          <ac:spMkLst>
            <pc:docMk/>
            <pc:sldMk cId="1675062303" sldId="1929"/>
            <ac:spMk id="28" creationId="{FF95C198-09A3-433C-9CB7-6D1D1E680B70}"/>
          </ac:spMkLst>
        </pc:spChg>
        <pc:spChg chg="del mod">
          <ac:chgData name="Aurelien Domont" userId="6da7715ce44349b3" providerId="LiveId" clId="{2CD95218-941C-4820-B0D1-138B992882CB}" dt="2021-04-16T06:27:24.768" v="191" actId="478"/>
          <ac:spMkLst>
            <pc:docMk/>
            <pc:sldMk cId="1675062303" sldId="1929"/>
            <ac:spMk id="29" creationId="{A799B42D-5148-4224-9D1C-746794BF5B27}"/>
          </ac:spMkLst>
        </pc:spChg>
        <pc:spChg chg="del mod">
          <ac:chgData name="Aurelien Domont" userId="6da7715ce44349b3" providerId="LiveId" clId="{2CD95218-941C-4820-B0D1-138B992882CB}" dt="2021-04-16T06:27:24.768" v="191" actId="478"/>
          <ac:spMkLst>
            <pc:docMk/>
            <pc:sldMk cId="1675062303" sldId="1929"/>
            <ac:spMk id="30" creationId="{732979A8-CC58-42EF-BBCA-B3579D051B5F}"/>
          </ac:spMkLst>
        </pc:spChg>
        <pc:spChg chg="del mod">
          <ac:chgData name="Aurelien Domont" userId="6da7715ce44349b3" providerId="LiveId" clId="{2CD95218-941C-4820-B0D1-138B992882CB}" dt="2021-04-16T06:27:24.768" v="191" actId="478"/>
          <ac:spMkLst>
            <pc:docMk/>
            <pc:sldMk cId="1675062303" sldId="1929"/>
            <ac:spMk id="31" creationId="{ED861B1F-EC3C-429C-8864-2F5B31F26BC9}"/>
          </ac:spMkLst>
        </pc:spChg>
        <pc:spChg chg="mod">
          <ac:chgData name="Aurelien Domont" userId="6da7715ce44349b3" providerId="LiveId" clId="{2CD95218-941C-4820-B0D1-138B992882CB}" dt="2021-04-19T06:32:05.026" v="959" actId="403"/>
          <ac:spMkLst>
            <pc:docMk/>
            <pc:sldMk cId="1675062303" sldId="1929"/>
            <ac:spMk id="32" creationId="{77C8B9FE-5149-44A2-9C03-07D804D83E7E}"/>
          </ac:spMkLst>
        </pc:spChg>
        <pc:spChg chg="add del">
          <ac:chgData name="Aurelien Domont" userId="6da7715ce44349b3" providerId="LiveId" clId="{2CD95218-941C-4820-B0D1-138B992882CB}" dt="2021-04-16T06:47:30.867" v="617" actId="478"/>
          <ac:spMkLst>
            <pc:docMk/>
            <pc:sldMk cId="1675062303" sldId="1929"/>
            <ac:spMk id="33" creationId="{1E76499A-C9C5-466B-9A08-69E6E8992DE1}"/>
          </ac:spMkLst>
        </pc:spChg>
        <pc:spChg chg="del">
          <ac:chgData name="Aurelien Domont" userId="6da7715ce44349b3" providerId="LiveId" clId="{2CD95218-941C-4820-B0D1-138B992882CB}" dt="2021-04-16T06:47:33.874" v="618" actId="478"/>
          <ac:spMkLst>
            <pc:docMk/>
            <pc:sldMk cId="1675062303" sldId="1929"/>
            <ac:spMk id="34" creationId="{0F79C268-4CB1-4DB8-A586-A3D301590033}"/>
          </ac:spMkLst>
        </pc:spChg>
        <pc:spChg chg="del">
          <ac:chgData name="Aurelien Domont" userId="6da7715ce44349b3" providerId="LiveId" clId="{2CD95218-941C-4820-B0D1-138B992882CB}" dt="2021-04-16T06:47:33.874" v="618" actId="478"/>
          <ac:spMkLst>
            <pc:docMk/>
            <pc:sldMk cId="1675062303" sldId="1929"/>
            <ac:spMk id="35" creationId="{B9BF8C25-1E47-46E0-89A7-D6DA8CEB5948}"/>
          </ac:spMkLst>
        </pc:spChg>
        <pc:spChg chg="del">
          <ac:chgData name="Aurelien Domont" userId="6da7715ce44349b3" providerId="LiveId" clId="{2CD95218-941C-4820-B0D1-138B992882CB}" dt="2021-04-16T06:47:33.874" v="618" actId="478"/>
          <ac:spMkLst>
            <pc:docMk/>
            <pc:sldMk cId="1675062303" sldId="1929"/>
            <ac:spMk id="36" creationId="{F8AAAB72-3590-4008-A46B-63DFC6755E6E}"/>
          </ac:spMkLst>
        </pc:spChg>
        <pc:spChg chg="del">
          <ac:chgData name="Aurelien Domont" userId="6da7715ce44349b3" providerId="LiveId" clId="{2CD95218-941C-4820-B0D1-138B992882CB}" dt="2021-04-16T06:47:33.874" v="618" actId="478"/>
          <ac:spMkLst>
            <pc:docMk/>
            <pc:sldMk cId="1675062303" sldId="1929"/>
            <ac:spMk id="37" creationId="{912E34DD-353F-47A6-AF75-D9CA13C7E87C}"/>
          </ac:spMkLst>
        </pc:spChg>
        <pc:spChg chg="del">
          <ac:chgData name="Aurelien Domont" userId="6da7715ce44349b3" providerId="LiveId" clId="{2CD95218-941C-4820-B0D1-138B992882CB}" dt="2021-04-16T06:47:33.874" v="618" actId="478"/>
          <ac:spMkLst>
            <pc:docMk/>
            <pc:sldMk cId="1675062303" sldId="1929"/>
            <ac:spMk id="38" creationId="{051E8B5B-18D9-47F6-8373-93F0489622F4}"/>
          </ac:spMkLst>
        </pc:spChg>
        <pc:spChg chg="del">
          <ac:chgData name="Aurelien Domont" userId="6da7715ce44349b3" providerId="LiveId" clId="{2CD95218-941C-4820-B0D1-138B992882CB}" dt="2021-04-16T06:47:33.874" v="618" actId="478"/>
          <ac:spMkLst>
            <pc:docMk/>
            <pc:sldMk cId="1675062303" sldId="1929"/>
            <ac:spMk id="39" creationId="{88A7DF6D-E787-4EFA-8266-3E89B8B847C7}"/>
          </ac:spMkLst>
        </pc:spChg>
        <pc:spChg chg="del">
          <ac:chgData name="Aurelien Domont" userId="6da7715ce44349b3" providerId="LiveId" clId="{2CD95218-941C-4820-B0D1-138B992882CB}" dt="2021-04-16T06:47:33.874" v="618" actId="478"/>
          <ac:spMkLst>
            <pc:docMk/>
            <pc:sldMk cId="1675062303" sldId="1929"/>
            <ac:spMk id="40" creationId="{7929A6C7-5C41-4505-9E73-993C8CDEEFFB}"/>
          </ac:spMkLst>
        </pc:spChg>
        <pc:spChg chg="del">
          <ac:chgData name="Aurelien Domont" userId="6da7715ce44349b3" providerId="LiveId" clId="{2CD95218-941C-4820-B0D1-138B992882CB}" dt="2021-04-16T06:47:33.874" v="618" actId="478"/>
          <ac:spMkLst>
            <pc:docMk/>
            <pc:sldMk cId="1675062303" sldId="1929"/>
            <ac:spMk id="41" creationId="{67E43E53-CAE9-40D5-8938-F27548F8F440}"/>
          </ac:spMkLst>
        </pc:spChg>
        <pc:spChg chg="del">
          <ac:chgData name="Aurelien Domont" userId="6da7715ce44349b3" providerId="LiveId" clId="{2CD95218-941C-4820-B0D1-138B992882CB}" dt="2021-04-16T06:47:33.874" v="618" actId="478"/>
          <ac:spMkLst>
            <pc:docMk/>
            <pc:sldMk cId="1675062303" sldId="1929"/>
            <ac:spMk id="42" creationId="{00755CCC-6D6A-4365-887A-D39DFCA265F5}"/>
          </ac:spMkLst>
        </pc:spChg>
        <pc:spChg chg="del">
          <ac:chgData name="Aurelien Domont" userId="6da7715ce44349b3" providerId="LiveId" clId="{2CD95218-941C-4820-B0D1-138B992882CB}" dt="2021-04-16T06:47:33.874" v="618" actId="478"/>
          <ac:spMkLst>
            <pc:docMk/>
            <pc:sldMk cId="1675062303" sldId="1929"/>
            <ac:spMk id="43" creationId="{A76AC0E8-216F-4440-9121-A1FDF7921F27}"/>
          </ac:spMkLst>
        </pc:spChg>
        <pc:spChg chg="add del mod">
          <ac:chgData name="Aurelien Domont" userId="6da7715ce44349b3" providerId="LiveId" clId="{2CD95218-941C-4820-B0D1-138B992882CB}" dt="2021-04-16T06:40:19.021" v="528" actId="478"/>
          <ac:spMkLst>
            <pc:docMk/>
            <pc:sldMk cId="1675062303" sldId="1929"/>
            <ac:spMk id="44" creationId="{8063175A-EE38-4EDD-A0AD-B0A5B8EF51ED}"/>
          </ac:spMkLst>
        </pc:spChg>
        <pc:spChg chg="mod">
          <ac:chgData name="Aurelien Domont" userId="6da7715ce44349b3" providerId="LiveId" clId="{2CD95218-941C-4820-B0D1-138B992882CB}" dt="2021-04-16T06:40:42.976" v="566" actId="1037"/>
          <ac:spMkLst>
            <pc:docMk/>
            <pc:sldMk cId="1675062303" sldId="1929"/>
            <ac:spMk id="45" creationId="{4705B909-F094-4E27-8462-5070FB3C8438}"/>
          </ac:spMkLst>
        </pc:spChg>
        <pc:spChg chg="mod">
          <ac:chgData name="Aurelien Domont" userId="6da7715ce44349b3" providerId="LiveId" clId="{2CD95218-941C-4820-B0D1-138B992882CB}" dt="2021-04-16T06:40:38.246" v="549" actId="1037"/>
          <ac:spMkLst>
            <pc:docMk/>
            <pc:sldMk cId="1675062303" sldId="1929"/>
            <ac:spMk id="46" creationId="{C433C980-B246-49AC-A1F3-5756EE2DA2ED}"/>
          </ac:spMkLst>
        </pc:spChg>
        <pc:spChg chg="mod">
          <ac:chgData name="Aurelien Domont" userId="6da7715ce44349b3" providerId="LiveId" clId="{2CD95218-941C-4820-B0D1-138B992882CB}" dt="2021-04-16T06:40:38.246" v="549" actId="1037"/>
          <ac:spMkLst>
            <pc:docMk/>
            <pc:sldMk cId="1675062303" sldId="1929"/>
            <ac:spMk id="47" creationId="{FF0DCE74-6C68-4FE8-B9BC-EBBB0AE6D7E1}"/>
          </ac:spMkLst>
        </pc:spChg>
        <pc:spChg chg="mod">
          <ac:chgData name="Aurelien Domont" userId="6da7715ce44349b3" providerId="LiveId" clId="{2CD95218-941C-4820-B0D1-138B992882CB}" dt="2021-04-16T06:40:38.246" v="549" actId="1037"/>
          <ac:spMkLst>
            <pc:docMk/>
            <pc:sldMk cId="1675062303" sldId="1929"/>
            <ac:spMk id="48" creationId="{15866024-AF79-4213-8B1A-136E17B43D5F}"/>
          </ac:spMkLst>
        </pc:spChg>
        <pc:spChg chg="mod">
          <ac:chgData name="Aurelien Domont" userId="6da7715ce44349b3" providerId="LiveId" clId="{2CD95218-941C-4820-B0D1-138B992882CB}" dt="2021-04-16T06:40:38.246" v="549" actId="1037"/>
          <ac:spMkLst>
            <pc:docMk/>
            <pc:sldMk cId="1675062303" sldId="1929"/>
            <ac:spMk id="49" creationId="{8E8144B8-DE60-4898-A390-DDAB274DFD00}"/>
          </ac:spMkLst>
        </pc:spChg>
        <pc:spChg chg="mod">
          <ac:chgData name="Aurelien Domont" userId="6da7715ce44349b3" providerId="LiveId" clId="{2CD95218-941C-4820-B0D1-138B992882CB}" dt="2021-04-16T06:40:38.246" v="549" actId="1037"/>
          <ac:spMkLst>
            <pc:docMk/>
            <pc:sldMk cId="1675062303" sldId="1929"/>
            <ac:spMk id="50" creationId="{021A7501-6AAB-40F6-B45B-D5EE90117B55}"/>
          </ac:spMkLst>
        </pc:spChg>
        <pc:spChg chg="mod">
          <ac:chgData name="Aurelien Domont" userId="6da7715ce44349b3" providerId="LiveId" clId="{2CD95218-941C-4820-B0D1-138B992882CB}" dt="2021-04-16T06:40:38.246" v="549" actId="1037"/>
          <ac:spMkLst>
            <pc:docMk/>
            <pc:sldMk cId="1675062303" sldId="1929"/>
            <ac:spMk id="51" creationId="{0FA74DED-0524-47B0-A2AB-F8328467651E}"/>
          </ac:spMkLst>
        </pc:spChg>
        <pc:spChg chg="mod">
          <ac:chgData name="Aurelien Domont" userId="6da7715ce44349b3" providerId="LiveId" clId="{2CD95218-941C-4820-B0D1-138B992882CB}" dt="2021-04-16T06:40:38.246" v="549" actId="1037"/>
          <ac:spMkLst>
            <pc:docMk/>
            <pc:sldMk cId="1675062303" sldId="1929"/>
            <ac:spMk id="57" creationId="{D0871517-2C90-44F0-B6FD-EBDCC938BE9C}"/>
          </ac:spMkLst>
        </pc:spChg>
        <pc:spChg chg="del mod">
          <ac:chgData name="Aurelien Domont" userId="6da7715ce44349b3" providerId="LiveId" clId="{2CD95218-941C-4820-B0D1-138B992882CB}" dt="2021-04-16T06:26:45.083" v="183" actId="478"/>
          <ac:spMkLst>
            <pc:docMk/>
            <pc:sldMk cId="1675062303" sldId="1929"/>
            <ac:spMk id="58" creationId="{97C1FDC6-5BAF-4AAB-BEE2-CA9175EE2556}"/>
          </ac:spMkLst>
        </pc:spChg>
        <pc:spChg chg="del mod">
          <ac:chgData name="Aurelien Domont" userId="6da7715ce44349b3" providerId="LiveId" clId="{2CD95218-941C-4820-B0D1-138B992882CB}" dt="2021-04-16T06:26:51.057" v="185" actId="478"/>
          <ac:spMkLst>
            <pc:docMk/>
            <pc:sldMk cId="1675062303" sldId="1929"/>
            <ac:spMk id="59" creationId="{B56986ED-80A5-4ED2-960F-0FF4D5D86F25}"/>
          </ac:spMkLst>
        </pc:spChg>
        <pc:spChg chg="del mod">
          <ac:chgData name="Aurelien Domont" userId="6da7715ce44349b3" providerId="LiveId" clId="{2CD95218-941C-4820-B0D1-138B992882CB}" dt="2021-04-16T06:26:51.057" v="185" actId="478"/>
          <ac:spMkLst>
            <pc:docMk/>
            <pc:sldMk cId="1675062303" sldId="1929"/>
            <ac:spMk id="60" creationId="{6DCAC2AE-372D-45CD-A17F-1757B651478A}"/>
          </ac:spMkLst>
        </pc:spChg>
        <pc:spChg chg="del mod">
          <ac:chgData name="Aurelien Domont" userId="6da7715ce44349b3" providerId="LiveId" clId="{2CD95218-941C-4820-B0D1-138B992882CB}" dt="2021-04-16T06:26:42.006" v="182" actId="478"/>
          <ac:spMkLst>
            <pc:docMk/>
            <pc:sldMk cId="1675062303" sldId="1929"/>
            <ac:spMk id="61" creationId="{D4422223-98F2-4879-AF5D-F7D382E84879}"/>
          </ac:spMkLst>
        </pc:spChg>
        <pc:spChg chg="del mod">
          <ac:chgData name="Aurelien Domont" userId="6da7715ce44349b3" providerId="LiveId" clId="{2CD95218-941C-4820-B0D1-138B992882CB}" dt="2021-04-16T06:26:42.006" v="182" actId="478"/>
          <ac:spMkLst>
            <pc:docMk/>
            <pc:sldMk cId="1675062303" sldId="1929"/>
            <ac:spMk id="62" creationId="{56803461-2909-45AA-90FD-381E9C858B5A}"/>
          </ac:spMkLst>
        </pc:spChg>
        <pc:spChg chg="del mod">
          <ac:chgData name="Aurelien Domont" userId="6da7715ce44349b3" providerId="LiveId" clId="{2CD95218-941C-4820-B0D1-138B992882CB}" dt="2021-04-16T06:26:45.083" v="183" actId="478"/>
          <ac:spMkLst>
            <pc:docMk/>
            <pc:sldMk cId="1675062303" sldId="1929"/>
            <ac:spMk id="63" creationId="{389DAD2B-6939-4F20-8746-CAF246800D3D}"/>
          </ac:spMkLst>
        </pc:spChg>
        <pc:spChg chg="del mod">
          <ac:chgData name="Aurelien Domont" userId="6da7715ce44349b3" providerId="LiveId" clId="{2CD95218-941C-4820-B0D1-138B992882CB}" dt="2021-04-16T06:26:45.083" v="183" actId="478"/>
          <ac:spMkLst>
            <pc:docMk/>
            <pc:sldMk cId="1675062303" sldId="1929"/>
            <ac:spMk id="64" creationId="{3EA57563-6177-4613-95DE-918ED7C0C476}"/>
          </ac:spMkLst>
        </pc:spChg>
        <pc:spChg chg="del mod">
          <ac:chgData name="Aurelien Domont" userId="6da7715ce44349b3" providerId="LiveId" clId="{2CD95218-941C-4820-B0D1-138B992882CB}" dt="2021-04-16T06:26:45.083" v="183" actId="478"/>
          <ac:spMkLst>
            <pc:docMk/>
            <pc:sldMk cId="1675062303" sldId="1929"/>
            <ac:spMk id="65" creationId="{7651DA90-2DAA-451A-B3C9-F967AF65BF46}"/>
          </ac:spMkLst>
        </pc:spChg>
        <pc:spChg chg="del mod">
          <ac:chgData name="Aurelien Domont" userId="6da7715ce44349b3" providerId="LiveId" clId="{2CD95218-941C-4820-B0D1-138B992882CB}" dt="2021-04-16T06:26:51.057" v="185" actId="478"/>
          <ac:spMkLst>
            <pc:docMk/>
            <pc:sldMk cId="1675062303" sldId="1929"/>
            <ac:spMk id="66" creationId="{DBB99306-6EA6-4077-943E-52653464A6FF}"/>
          </ac:spMkLst>
        </pc:spChg>
        <pc:spChg chg="del mod">
          <ac:chgData name="Aurelien Domont" userId="6da7715ce44349b3" providerId="LiveId" clId="{2CD95218-941C-4820-B0D1-138B992882CB}" dt="2021-04-16T06:26:42.006" v="182" actId="478"/>
          <ac:spMkLst>
            <pc:docMk/>
            <pc:sldMk cId="1675062303" sldId="1929"/>
            <ac:spMk id="67" creationId="{EAEAAD29-09DC-44B0-8969-875380284434}"/>
          </ac:spMkLst>
        </pc:spChg>
        <pc:spChg chg="del mod">
          <ac:chgData name="Aurelien Domont" userId="6da7715ce44349b3" providerId="LiveId" clId="{2CD95218-941C-4820-B0D1-138B992882CB}" dt="2021-04-16T06:26:46.900" v="184" actId="478"/>
          <ac:spMkLst>
            <pc:docMk/>
            <pc:sldMk cId="1675062303" sldId="1929"/>
            <ac:spMk id="68" creationId="{39EFEF67-E674-427B-9F8E-22F7068E93C7}"/>
          </ac:spMkLst>
        </pc:spChg>
        <pc:spChg chg="del mod">
          <ac:chgData name="Aurelien Domont" userId="6da7715ce44349b3" providerId="LiveId" clId="{2CD95218-941C-4820-B0D1-138B992882CB}" dt="2021-04-16T06:26:45.083" v="183" actId="478"/>
          <ac:spMkLst>
            <pc:docMk/>
            <pc:sldMk cId="1675062303" sldId="1929"/>
            <ac:spMk id="69" creationId="{8CFF1A4B-98CD-48E8-94DB-83E22BE983B1}"/>
          </ac:spMkLst>
        </pc:spChg>
        <pc:spChg chg="del mod">
          <ac:chgData name="Aurelien Domont" userId="6da7715ce44349b3" providerId="LiveId" clId="{2CD95218-941C-4820-B0D1-138B992882CB}" dt="2021-04-16T06:26:51.057" v="185" actId="478"/>
          <ac:spMkLst>
            <pc:docMk/>
            <pc:sldMk cId="1675062303" sldId="1929"/>
            <ac:spMk id="70" creationId="{107235FA-E706-4607-B7B3-D5C46906B737}"/>
          </ac:spMkLst>
        </pc:spChg>
        <pc:spChg chg="del mod">
          <ac:chgData name="Aurelien Domont" userId="6da7715ce44349b3" providerId="LiveId" clId="{2CD95218-941C-4820-B0D1-138B992882CB}" dt="2021-04-16T06:26:51.057" v="185" actId="478"/>
          <ac:spMkLst>
            <pc:docMk/>
            <pc:sldMk cId="1675062303" sldId="1929"/>
            <ac:spMk id="71" creationId="{9D0AE14D-4ECA-4673-9395-0327F4E6A94B}"/>
          </ac:spMkLst>
        </pc:spChg>
        <pc:spChg chg="del mod">
          <ac:chgData name="Aurelien Domont" userId="6da7715ce44349b3" providerId="LiveId" clId="{2CD95218-941C-4820-B0D1-138B992882CB}" dt="2021-04-16T06:26:51.057" v="185" actId="478"/>
          <ac:spMkLst>
            <pc:docMk/>
            <pc:sldMk cId="1675062303" sldId="1929"/>
            <ac:spMk id="72" creationId="{D51382CF-07A7-4463-BAAA-1EDAA616F568}"/>
          </ac:spMkLst>
        </pc:spChg>
        <pc:spChg chg="del mod">
          <ac:chgData name="Aurelien Domont" userId="6da7715ce44349b3" providerId="LiveId" clId="{2CD95218-941C-4820-B0D1-138B992882CB}" dt="2021-04-16T06:26:51.057" v="185" actId="478"/>
          <ac:spMkLst>
            <pc:docMk/>
            <pc:sldMk cId="1675062303" sldId="1929"/>
            <ac:spMk id="73" creationId="{65D5E851-1FD3-43CF-8254-11131129A666}"/>
          </ac:spMkLst>
        </pc:spChg>
        <pc:spChg chg="del mod">
          <ac:chgData name="Aurelien Domont" userId="6da7715ce44349b3" providerId="LiveId" clId="{2CD95218-941C-4820-B0D1-138B992882CB}" dt="2021-04-16T06:26:42.006" v="182" actId="478"/>
          <ac:spMkLst>
            <pc:docMk/>
            <pc:sldMk cId="1675062303" sldId="1929"/>
            <ac:spMk id="74" creationId="{59AF48A5-E6A5-4373-90BF-B3DC80C266C9}"/>
          </ac:spMkLst>
        </pc:spChg>
        <pc:spChg chg="del mod">
          <ac:chgData name="Aurelien Domont" userId="6da7715ce44349b3" providerId="LiveId" clId="{2CD95218-941C-4820-B0D1-138B992882CB}" dt="2021-04-16T06:26:42.006" v="182" actId="478"/>
          <ac:spMkLst>
            <pc:docMk/>
            <pc:sldMk cId="1675062303" sldId="1929"/>
            <ac:spMk id="75" creationId="{F31128FD-EAE4-4FCA-AF6C-02B5BC2CA334}"/>
          </ac:spMkLst>
        </pc:spChg>
        <pc:spChg chg="del mod">
          <ac:chgData name="Aurelien Domont" userId="6da7715ce44349b3" providerId="LiveId" clId="{2CD95218-941C-4820-B0D1-138B992882CB}" dt="2021-04-16T06:26:42.006" v="182" actId="478"/>
          <ac:spMkLst>
            <pc:docMk/>
            <pc:sldMk cId="1675062303" sldId="1929"/>
            <ac:spMk id="76" creationId="{E3FB5B44-3F2A-4301-A245-EBCBE59CDE14}"/>
          </ac:spMkLst>
        </pc:spChg>
        <pc:spChg chg="del mod">
          <ac:chgData name="Aurelien Domont" userId="6da7715ce44349b3" providerId="LiveId" clId="{2CD95218-941C-4820-B0D1-138B992882CB}" dt="2021-04-16T06:26:42.006" v="182" actId="478"/>
          <ac:spMkLst>
            <pc:docMk/>
            <pc:sldMk cId="1675062303" sldId="1929"/>
            <ac:spMk id="77" creationId="{26BACEEC-6E56-4B88-88C9-999BE0F02BCB}"/>
          </ac:spMkLst>
        </pc:spChg>
        <pc:spChg chg="del mod">
          <ac:chgData name="Aurelien Domont" userId="6da7715ce44349b3" providerId="LiveId" clId="{2CD95218-941C-4820-B0D1-138B992882CB}" dt="2021-04-16T06:26:42.006" v="182" actId="478"/>
          <ac:spMkLst>
            <pc:docMk/>
            <pc:sldMk cId="1675062303" sldId="1929"/>
            <ac:spMk id="78" creationId="{6F2058C3-3176-44B0-B4C9-CB64CD734F64}"/>
          </ac:spMkLst>
        </pc:spChg>
        <pc:spChg chg="del mod">
          <ac:chgData name="Aurelien Domont" userId="6da7715ce44349b3" providerId="LiveId" clId="{2CD95218-941C-4820-B0D1-138B992882CB}" dt="2021-04-16T06:26:42.006" v="182" actId="478"/>
          <ac:spMkLst>
            <pc:docMk/>
            <pc:sldMk cId="1675062303" sldId="1929"/>
            <ac:spMk id="79" creationId="{7CEECBCB-209E-4004-A7C3-F341CCC76B2B}"/>
          </ac:spMkLst>
        </pc:spChg>
        <pc:spChg chg="del mod">
          <ac:chgData name="Aurelien Domont" userId="6da7715ce44349b3" providerId="LiveId" clId="{2CD95218-941C-4820-B0D1-138B992882CB}" dt="2021-04-16T06:26:42.006" v="182" actId="478"/>
          <ac:spMkLst>
            <pc:docMk/>
            <pc:sldMk cId="1675062303" sldId="1929"/>
            <ac:spMk id="80" creationId="{CC95139A-0FCF-4191-A754-ECF98F81C563}"/>
          </ac:spMkLst>
        </pc:spChg>
        <pc:spChg chg="del mod">
          <ac:chgData name="Aurelien Domont" userId="6da7715ce44349b3" providerId="LiveId" clId="{2CD95218-941C-4820-B0D1-138B992882CB}" dt="2021-04-16T06:26:42.006" v="182" actId="478"/>
          <ac:spMkLst>
            <pc:docMk/>
            <pc:sldMk cId="1675062303" sldId="1929"/>
            <ac:spMk id="81" creationId="{32DC4CF8-D44E-4C3D-8F3C-5E34C0A31A26}"/>
          </ac:spMkLst>
        </pc:spChg>
        <pc:spChg chg="del mod">
          <ac:chgData name="Aurelien Domont" userId="6da7715ce44349b3" providerId="LiveId" clId="{2CD95218-941C-4820-B0D1-138B992882CB}" dt="2021-04-16T06:26:51.057" v="185" actId="478"/>
          <ac:spMkLst>
            <pc:docMk/>
            <pc:sldMk cId="1675062303" sldId="1929"/>
            <ac:spMk id="82" creationId="{15E8B909-F6C6-4C55-AAE8-3E32AED0BDF2}"/>
          </ac:spMkLst>
        </pc:spChg>
        <pc:spChg chg="del mod">
          <ac:chgData name="Aurelien Domont" userId="6da7715ce44349b3" providerId="LiveId" clId="{2CD95218-941C-4820-B0D1-138B992882CB}" dt="2021-04-16T06:26:51.057" v="185" actId="478"/>
          <ac:spMkLst>
            <pc:docMk/>
            <pc:sldMk cId="1675062303" sldId="1929"/>
            <ac:spMk id="83" creationId="{1A1D288D-3576-4D7B-A806-688341BCFA57}"/>
          </ac:spMkLst>
        </pc:spChg>
        <pc:spChg chg="del mod">
          <ac:chgData name="Aurelien Domont" userId="6da7715ce44349b3" providerId="LiveId" clId="{2CD95218-941C-4820-B0D1-138B992882CB}" dt="2021-04-16T06:26:51.057" v="185" actId="478"/>
          <ac:spMkLst>
            <pc:docMk/>
            <pc:sldMk cId="1675062303" sldId="1929"/>
            <ac:spMk id="84" creationId="{084B6A03-DB78-4A73-B29C-B7A380A90F54}"/>
          </ac:spMkLst>
        </pc:spChg>
        <pc:spChg chg="del mod">
          <ac:chgData name="Aurelien Domont" userId="6da7715ce44349b3" providerId="LiveId" clId="{2CD95218-941C-4820-B0D1-138B992882CB}" dt="2021-04-16T06:26:51.057" v="185" actId="478"/>
          <ac:spMkLst>
            <pc:docMk/>
            <pc:sldMk cId="1675062303" sldId="1929"/>
            <ac:spMk id="85" creationId="{F5DAFC9A-C3D0-4B2B-A0EA-B6EDC7B33402}"/>
          </ac:spMkLst>
        </pc:spChg>
        <pc:spChg chg="del mod">
          <ac:chgData name="Aurelien Domont" userId="6da7715ce44349b3" providerId="LiveId" clId="{2CD95218-941C-4820-B0D1-138B992882CB}" dt="2021-04-16T06:26:45.083" v="183" actId="478"/>
          <ac:spMkLst>
            <pc:docMk/>
            <pc:sldMk cId="1675062303" sldId="1929"/>
            <ac:spMk id="86" creationId="{EC44CD73-D50E-4CC6-BC63-2E2C74F8F788}"/>
          </ac:spMkLst>
        </pc:spChg>
        <pc:spChg chg="del mod">
          <ac:chgData name="Aurelien Domont" userId="6da7715ce44349b3" providerId="LiveId" clId="{2CD95218-941C-4820-B0D1-138B992882CB}" dt="2021-04-16T06:26:45.083" v="183" actId="478"/>
          <ac:spMkLst>
            <pc:docMk/>
            <pc:sldMk cId="1675062303" sldId="1929"/>
            <ac:spMk id="87" creationId="{8EFC0302-6E98-4EDE-98D5-B69193E5C4C7}"/>
          </ac:spMkLst>
        </pc:spChg>
        <pc:spChg chg="del mod">
          <ac:chgData name="Aurelien Domont" userId="6da7715ce44349b3" providerId="LiveId" clId="{2CD95218-941C-4820-B0D1-138B992882CB}" dt="2021-04-16T06:26:45.083" v="183" actId="478"/>
          <ac:spMkLst>
            <pc:docMk/>
            <pc:sldMk cId="1675062303" sldId="1929"/>
            <ac:spMk id="88" creationId="{AC2D2195-992A-425C-974B-607571D4D192}"/>
          </ac:spMkLst>
        </pc:spChg>
        <pc:spChg chg="del mod">
          <ac:chgData name="Aurelien Domont" userId="6da7715ce44349b3" providerId="LiveId" clId="{2CD95218-941C-4820-B0D1-138B992882CB}" dt="2021-04-16T06:26:45.083" v="183" actId="478"/>
          <ac:spMkLst>
            <pc:docMk/>
            <pc:sldMk cId="1675062303" sldId="1929"/>
            <ac:spMk id="89" creationId="{B0EC9FF1-A866-4C73-9DE2-C140414CFEDD}"/>
          </ac:spMkLst>
        </pc:spChg>
        <pc:spChg chg="del mod">
          <ac:chgData name="Aurelien Domont" userId="6da7715ce44349b3" providerId="LiveId" clId="{2CD95218-941C-4820-B0D1-138B992882CB}" dt="2021-04-16T06:26:54.416" v="187" actId="478"/>
          <ac:spMkLst>
            <pc:docMk/>
            <pc:sldMk cId="1675062303" sldId="1929"/>
            <ac:spMk id="90" creationId="{64B84C6B-59D3-49AB-A782-10E33CB4DB64}"/>
          </ac:spMkLst>
        </pc:spChg>
        <pc:spChg chg="del mod">
          <ac:chgData name="Aurelien Domont" userId="6da7715ce44349b3" providerId="LiveId" clId="{2CD95218-941C-4820-B0D1-138B992882CB}" dt="2021-04-16T06:26:54.416" v="187" actId="478"/>
          <ac:spMkLst>
            <pc:docMk/>
            <pc:sldMk cId="1675062303" sldId="1929"/>
            <ac:spMk id="91" creationId="{262BA041-A776-4F87-B53B-0DB729F82E3A}"/>
          </ac:spMkLst>
        </pc:spChg>
        <pc:spChg chg="del mod">
          <ac:chgData name="Aurelien Domont" userId="6da7715ce44349b3" providerId="LiveId" clId="{2CD95218-941C-4820-B0D1-138B992882CB}" dt="2021-04-16T06:26:51.057" v="185" actId="478"/>
          <ac:spMkLst>
            <pc:docMk/>
            <pc:sldMk cId="1675062303" sldId="1929"/>
            <ac:spMk id="92" creationId="{55F804BF-3050-469F-9893-7B25AF95BA6F}"/>
          </ac:spMkLst>
        </pc:spChg>
        <pc:spChg chg="del mod">
          <ac:chgData name="Aurelien Domont" userId="6da7715ce44349b3" providerId="LiveId" clId="{2CD95218-941C-4820-B0D1-138B992882CB}" dt="2021-04-16T06:26:51.057" v="185" actId="478"/>
          <ac:spMkLst>
            <pc:docMk/>
            <pc:sldMk cId="1675062303" sldId="1929"/>
            <ac:spMk id="93" creationId="{B07D47FD-F51E-41E4-8DEB-F2151B00D970}"/>
          </ac:spMkLst>
        </pc:spChg>
        <pc:spChg chg="del mod">
          <ac:chgData name="Aurelien Domont" userId="6da7715ce44349b3" providerId="LiveId" clId="{2CD95218-941C-4820-B0D1-138B992882CB}" dt="2021-04-16T06:26:52.990" v="186" actId="478"/>
          <ac:spMkLst>
            <pc:docMk/>
            <pc:sldMk cId="1675062303" sldId="1929"/>
            <ac:spMk id="94" creationId="{3966B713-073C-4D6A-8E8E-F8F55BB9A13A}"/>
          </ac:spMkLst>
        </pc:spChg>
        <pc:spChg chg="del mod">
          <ac:chgData name="Aurelien Domont" userId="6da7715ce44349b3" providerId="LiveId" clId="{2CD95218-941C-4820-B0D1-138B992882CB}" dt="2021-04-16T06:26:52.990" v="186" actId="478"/>
          <ac:spMkLst>
            <pc:docMk/>
            <pc:sldMk cId="1675062303" sldId="1929"/>
            <ac:spMk id="95" creationId="{9C064A66-D7CE-4B43-8CDE-71696F8C815B}"/>
          </ac:spMkLst>
        </pc:spChg>
        <pc:spChg chg="del mod">
          <ac:chgData name="Aurelien Domont" userId="6da7715ce44349b3" providerId="LiveId" clId="{2CD95218-941C-4820-B0D1-138B992882CB}" dt="2021-04-16T06:26:58.367" v="188" actId="478"/>
          <ac:spMkLst>
            <pc:docMk/>
            <pc:sldMk cId="1675062303" sldId="1929"/>
            <ac:spMk id="96" creationId="{4E3C6EF9-35BD-4ADC-B00D-207664BD2BE4}"/>
          </ac:spMkLst>
        </pc:spChg>
        <pc:spChg chg="del mod">
          <ac:chgData name="Aurelien Domont" userId="6da7715ce44349b3" providerId="LiveId" clId="{2CD95218-941C-4820-B0D1-138B992882CB}" dt="2021-04-16T06:26:58.367" v="188" actId="478"/>
          <ac:spMkLst>
            <pc:docMk/>
            <pc:sldMk cId="1675062303" sldId="1929"/>
            <ac:spMk id="97" creationId="{4995D5AE-B164-4EB5-902D-9DEB3D2BA2B2}"/>
          </ac:spMkLst>
        </pc:spChg>
        <pc:spChg chg="del mod">
          <ac:chgData name="Aurelien Domont" userId="6da7715ce44349b3" providerId="LiveId" clId="{2CD95218-941C-4820-B0D1-138B992882CB}" dt="2021-04-16T06:26:51.057" v="185" actId="478"/>
          <ac:spMkLst>
            <pc:docMk/>
            <pc:sldMk cId="1675062303" sldId="1929"/>
            <ac:spMk id="98" creationId="{7A99BC44-B8DE-415A-BD9A-C11B38E01D84}"/>
          </ac:spMkLst>
        </pc:spChg>
        <pc:spChg chg="del mod">
          <ac:chgData name="Aurelien Domont" userId="6da7715ce44349b3" providerId="LiveId" clId="{2CD95218-941C-4820-B0D1-138B992882CB}" dt="2021-04-16T06:27:00.476" v="189" actId="478"/>
          <ac:spMkLst>
            <pc:docMk/>
            <pc:sldMk cId="1675062303" sldId="1929"/>
            <ac:spMk id="99" creationId="{0A537045-93E0-4E13-82CF-307F1C697B3A}"/>
          </ac:spMkLst>
        </pc:spChg>
        <pc:spChg chg="del mod">
          <ac:chgData name="Aurelien Domont" userId="6da7715ce44349b3" providerId="LiveId" clId="{2CD95218-941C-4820-B0D1-138B992882CB}" dt="2021-04-16T06:27:00.476" v="189" actId="478"/>
          <ac:spMkLst>
            <pc:docMk/>
            <pc:sldMk cId="1675062303" sldId="1929"/>
            <ac:spMk id="100" creationId="{1CC1B594-E537-40CB-99A0-921BD302395A}"/>
          </ac:spMkLst>
        </pc:spChg>
        <pc:spChg chg="del mod">
          <ac:chgData name="Aurelien Domont" userId="6da7715ce44349b3" providerId="LiveId" clId="{2CD95218-941C-4820-B0D1-138B992882CB}" dt="2021-04-16T06:27:00.476" v="189" actId="478"/>
          <ac:spMkLst>
            <pc:docMk/>
            <pc:sldMk cId="1675062303" sldId="1929"/>
            <ac:spMk id="101" creationId="{A21D79CA-678B-4914-A14B-CEBF09E3F448}"/>
          </ac:spMkLst>
        </pc:spChg>
        <pc:spChg chg="del mod">
          <ac:chgData name="Aurelien Domont" userId="6da7715ce44349b3" providerId="LiveId" clId="{2CD95218-941C-4820-B0D1-138B992882CB}" dt="2021-04-16T06:27:00.476" v="189" actId="478"/>
          <ac:spMkLst>
            <pc:docMk/>
            <pc:sldMk cId="1675062303" sldId="1929"/>
            <ac:spMk id="102" creationId="{7699DC8D-98D2-48DA-88E5-5F9ADFA3A7F9}"/>
          </ac:spMkLst>
        </pc:spChg>
        <pc:spChg chg="del mod">
          <ac:chgData name="Aurelien Domont" userId="6da7715ce44349b3" providerId="LiveId" clId="{2CD95218-941C-4820-B0D1-138B992882CB}" dt="2021-04-16T06:27:05.688" v="190" actId="478"/>
          <ac:spMkLst>
            <pc:docMk/>
            <pc:sldMk cId="1675062303" sldId="1929"/>
            <ac:spMk id="103" creationId="{E05CE778-AE1A-44D6-8DF0-34BD6301976E}"/>
          </ac:spMkLst>
        </pc:spChg>
        <pc:spChg chg="del mod">
          <ac:chgData name="Aurelien Domont" userId="6da7715ce44349b3" providerId="LiveId" clId="{2CD95218-941C-4820-B0D1-138B992882CB}" dt="2021-04-16T06:27:05.688" v="190" actId="478"/>
          <ac:spMkLst>
            <pc:docMk/>
            <pc:sldMk cId="1675062303" sldId="1929"/>
            <ac:spMk id="104" creationId="{3D93CDB6-B820-4107-8150-EEB22426AFB8}"/>
          </ac:spMkLst>
        </pc:spChg>
        <pc:spChg chg="del mod">
          <ac:chgData name="Aurelien Domont" userId="6da7715ce44349b3" providerId="LiveId" clId="{2CD95218-941C-4820-B0D1-138B992882CB}" dt="2021-04-16T06:27:05.688" v="190" actId="478"/>
          <ac:spMkLst>
            <pc:docMk/>
            <pc:sldMk cId="1675062303" sldId="1929"/>
            <ac:spMk id="105" creationId="{BE74EC44-C769-4191-BE15-7ACD31E7DC5D}"/>
          </ac:spMkLst>
        </pc:spChg>
        <pc:spChg chg="del mod">
          <ac:chgData name="Aurelien Domont" userId="6da7715ce44349b3" providerId="LiveId" clId="{2CD95218-941C-4820-B0D1-138B992882CB}" dt="2021-04-16T06:27:05.688" v="190" actId="478"/>
          <ac:spMkLst>
            <pc:docMk/>
            <pc:sldMk cId="1675062303" sldId="1929"/>
            <ac:spMk id="106" creationId="{9FFBDBF2-859F-4CBA-949A-D358A15E62B7}"/>
          </ac:spMkLst>
        </pc:spChg>
        <pc:spChg chg="del mod">
          <ac:chgData name="Aurelien Domont" userId="6da7715ce44349b3" providerId="LiveId" clId="{2CD95218-941C-4820-B0D1-138B992882CB}" dt="2021-04-16T06:27:05.688" v="190" actId="478"/>
          <ac:spMkLst>
            <pc:docMk/>
            <pc:sldMk cId="1675062303" sldId="1929"/>
            <ac:spMk id="107" creationId="{95503C34-B674-45E3-9B22-9CB1CCFA502A}"/>
          </ac:spMkLst>
        </pc:spChg>
        <pc:spChg chg="del mod">
          <ac:chgData name="Aurelien Domont" userId="6da7715ce44349b3" providerId="LiveId" clId="{2CD95218-941C-4820-B0D1-138B992882CB}" dt="2021-04-16T06:27:05.688" v="190" actId="478"/>
          <ac:spMkLst>
            <pc:docMk/>
            <pc:sldMk cId="1675062303" sldId="1929"/>
            <ac:spMk id="108" creationId="{D203C686-EA0E-42B6-8195-ADE2B4350EB5}"/>
          </ac:spMkLst>
        </pc:spChg>
        <pc:spChg chg="del mod">
          <ac:chgData name="Aurelien Domont" userId="6da7715ce44349b3" providerId="LiveId" clId="{2CD95218-941C-4820-B0D1-138B992882CB}" dt="2021-04-16T06:27:05.688" v="190" actId="478"/>
          <ac:spMkLst>
            <pc:docMk/>
            <pc:sldMk cId="1675062303" sldId="1929"/>
            <ac:spMk id="109" creationId="{CAD45297-3DD0-4367-8D03-615E61D64305}"/>
          </ac:spMkLst>
        </pc:spChg>
        <pc:spChg chg="del mod">
          <ac:chgData name="Aurelien Domont" userId="6da7715ce44349b3" providerId="LiveId" clId="{2CD95218-941C-4820-B0D1-138B992882CB}" dt="2021-04-16T06:27:05.688" v="190" actId="478"/>
          <ac:spMkLst>
            <pc:docMk/>
            <pc:sldMk cId="1675062303" sldId="1929"/>
            <ac:spMk id="110" creationId="{69172CA8-7626-4B32-9FFB-A1BC1402D4E2}"/>
          </ac:spMkLst>
        </pc:spChg>
        <pc:spChg chg="del mod">
          <ac:chgData name="Aurelien Domont" userId="6da7715ce44349b3" providerId="LiveId" clId="{2CD95218-941C-4820-B0D1-138B992882CB}" dt="2021-04-16T06:27:05.688" v="190" actId="478"/>
          <ac:spMkLst>
            <pc:docMk/>
            <pc:sldMk cId="1675062303" sldId="1929"/>
            <ac:spMk id="111" creationId="{6E11F499-C7EC-4EE8-BD33-A005F69FE1EE}"/>
          </ac:spMkLst>
        </pc:spChg>
        <pc:spChg chg="del mod">
          <ac:chgData name="Aurelien Domont" userId="6da7715ce44349b3" providerId="LiveId" clId="{2CD95218-941C-4820-B0D1-138B992882CB}" dt="2021-04-16T06:27:05.688" v="190" actId="478"/>
          <ac:spMkLst>
            <pc:docMk/>
            <pc:sldMk cId="1675062303" sldId="1929"/>
            <ac:spMk id="112" creationId="{216A6E77-0726-495E-8019-17F6BF963B5C}"/>
          </ac:spMkLst>
        </pc:spChg>
        <pc:spChg chg="add mod">
          <ac:chgData name="Aurelien Domont" userId="6da7715ce44349b3" providerId="LiveId" clId="{2CD95218-941C-4820-B0D1-138B992882CB}" dt="2021-04-19T06:32:05.026" v="959" actId="403"/>
          <ac:spMkLst>
            <pc:docMk/>
            <pc:sldMk cId="1675062303" sldId="1929"/>
            <ac:spMk id="113" creationId="{A25F7426-C83A-4996-8F55-11E09AB514FD}"/>
          </ac:spMkLst>
        </pc:spChg>
        <pc:spChg chg="add mod">
          <ac:chgData name="Aurelien Domont" userId="6da7715ce44349b3" providerId="LiveId" clId="{2CD95218-941C-4820-B0D1-138B992882CB}" dt="2021-04-19T06:32:05.026" v="959" actId="403"/>
          <ac:spMkLst>
            <pc:docMk/>
            <pc:sldMk cId="1675062303" sldId="1929"/>
            <ac:spMk id="114" creationId="{617136ED-CBDB-4E11-8547-F8973B50CB97}"/>
          </ac:spMkLst>
        </pc:spChg>
        <pc:spChg chg="add mod">
          <ac:chgData name="Aurelien Domont" userId="6da7715ce44349b3" providerId="LiveId" clId="{2CD95218-941C-4820-B0D1-138B992882CB}" dt="2021-04-19T06:32:05.026" v="959" actId="403"/>
          <ac:spMkLst>
            <pc:docMk/>
            <pc:sldMk cId="1675062303" sldId="1929"/>
            <ac:spMk id="115" creationId="{9EE5EBFC-A934-414B-975C-CE01B940B6CD}"/>
          </ac:spMkLst>
        </pc:spChg>
        <pc:spChg chg="add mod">
          <ac:chgData name="Aurelien Domont" userId="6da7715ce44349b3" providerId="LiveId" clId="{2CD95218-941C-4820-B0D1-138B992882CB}" dt="2021-04-19T06:32:05.026" v="959" actId="403"/>
          <ac:spMkLst>
            <pc:docMk/>
            <pc:sldMk cId="1675062303" sldId="1929"/>
            <ac:spMk id="116" creationId="{F68210B4-67B6-4786-91C0-6D58CED7FF49}"/>
          </ac:spMkLst>
        </pc:spChg>
        <pc:spChg chg="add mod">
          <ac:chgData name="Aurelien Domont" userId="6da7715ce44349b3" providerId="LiveId" clId="{2CD95218-941C-4820-B0D1-138B992882CB}" dt="2021-04-19T06:32:05.026" v="959" actId="403"/>
          <ac:spMkLst>
            <pc:docMk/>
            <pc:sldMk cId="1675062303" sldId="1929"/>
            <ac:spMk id="117" creationId="{091F03B6-C2C5-4F9A-B53A-966DD031D465}"/>
          </ac:spMkLst>
        </pc:spChg>
        <pc:spChg chg="add mod">
          <ac:chgData name="Aurelien Domont" userId="6da7715ce44349b3" providerId="LiveId" clId="{2CD95218-941C-4820-B0D1-138B992882CB}" dt="2021-04-19T06:32:05.026" v="959" actId="403"/>
          <ac:spMkLst>
            <pc:docMk/>
            <pc:sldMk cId="1675062303" sldId="1929"/>
            <ac:spMk id="118" creationId="{94542872-64CB-48E3-87C2-10EBD587FB69}"/>
          </ac:spMkLst>
        </pc:spChg>
        <pc:spChg chg="add mod">
          <ac:chgData name="Aurelien Domont" userId="6da7715ce44349b3" providerId="LiveId" clId="{2CD95218-941C-4820-B0D1-138B992882CB}" dt="2021-04-19T06:32:05.026" v="959" actId="403"/>
          <ac:spMkLst>
            <pc:docMk/>
            <pc:sldMk cId="1675062303" sldId="1929"/>
            <ac:spMk id="119" creationId="{0C540759-0E6E-46EA-AC26-6EB59BE2DF5D}"/>
          </ac:spMkLst>
        </pc:spChg>
        <pc:spChg chg="add mod">
          <ac:chgData name="Aurelien Domont" userId="6da7715ce44349b3" providerId="LiveId" clId="{2CD95218-941C-4820-B0D1-138B992882CB}" dt="2021-04-19T06:32:05.026" v="959" actId="403"/>
          <ac:spMkLst>
            <pc:docMk/>
            <pc:sldMk cId="1675062303" sldId="1929"/>
            <ac:spMk id="120" creationId="{DE186239-6A2C-45CC-95C3-B4F22178B13C}"/>
          </ac:spMkLst>
        </pc:spChg>
        <pc:spChg chg="add mod">
          <ac:chgData name="Aurelien Domont" userId="6da7715ce44349b3" providerId="LiveId" clId="{2CD95218-941C-4820-B0D1-138B992882CB}" dt="2021-04-16T06:40:30.395" v="530" actId="1076"/>
          <ac:spMkLst>
            <pc:docMk/>
            <pc:sldMk cId="1675062303" sldId="1929"/>
            <ac:spMk id="121" creationId="{BD4D2543-5708-42A2-8EE2-B377DF9385FB}"/>
          </ac:spMkLst>
        </pc:spChg>
        <pc:spChg chg="add mod">
          <ac:chgData name="Aurelien Domont" userId="6da7715ce44349b3" providerId="LiveId" clId="{2CD95218-941C-4820-B0D1-138B992882CB}" dt="2021-04-16T06:44:24.864" v="595" actId="571"/>
          <ac:spMkLst>
            <pc:docMk/>
            <pc:sldMk cId="1675062303" sldId="1929"/>
            <ac:spMk id="122" creationId="{BF029220-90D8-420F-94C2-C975146E469A}"/>
          </ac:spMkLst>
        </pc:spChg>
        <pc:spChg chg="add mod">
          <ac:chgData name="Aurelien Domont" userId="6da7715ce44349b3" providerId="LiveId" clId="{2CD95218-941C-4820-B0D1-138B992882CB}" dt="2021-04-16T06:44:24.864" v="595" actId="571"/>
          <ac:spMkLst>
            <pc:docMk/>
            <pc:sldMk cId="1675062303" sldId="1929"/>
            <ac:spMk id="123" creationId="{688DC233-7242-4F5D-B5A6-6086F96267D2}"/>
          </ac:spMkLst>
        </pc:spChg>
        <pc:spChg chg="add mod">
          <ac:chgData name="Aurelien Domont" userId="6da7715ce44349b3" providerId="LiveId" clId="{2CD95218-941C-4820-B0D1-138B992882CB}" dt="2021-04-16T06:44:24.864" v="595" actId="571"/>
          <ac:spMkLst>
            <pc:docMk/>
            <pc:sldMk cId="1675062303" sldId="1929"/>
            <ac:spMk id="124" creationId="{E50225C5-72F4-4901-839B-D92A41A66E84}"/>
          </ac:spMkLst>
        </pc:spChg>
        <pc:spChg chg="add mod">
          <ac:chgData name="Aurelien Domont" userId="6da7715ce44349b3" providerId="LiveId" clId="{2CD95218-941C-4820-B0D1-138B992882CB}" dt="2021-04-16T06:44:24.864" v="595" actId="571"/>
          <ac:spMkLst>
            <pc:docMk/>
            <pc:sldMk cId="1675062303" sldId="1929"/>
            <ac:spMk id="125" creationId="{414898F6-EA4B-4472-8BF1-7F9FBB82B9F2}"/>
          </ac:spMkLst>
        </pc:spChg>
        <pc:spChg chg="add mod">
          <ac:chgData name="Aurelien Domont" userId="6da7715ce44349b3" providerId="LiveId" clId="{2CD95218-941C-4820-B0D1-138B992882CB}" dt="2021-04-16T06:44:24.864" v="595" actId="571"/>
          <ac:spMkLst>
            <pc:docMk/>
            <pc:sldMk cId="1675062303" sldId="1929"/>
            <ac:spMk id="126" creationId="{FA2EF25C-AFCF-4D78-8F1A-76D6AA5C99CB}"/>
          </ac:spMkLst>
        </pc:spChg>
        <pc:spChg chg="add mod">
          <ac:chgData name="Aurelien Domont" userId="6da7715ce44349b3" providerId="LiveId" clId="{2CD95218-941C-4820-B0D1-138B992882CB}" dt="2021-04-16T06:44:24.864" v="595" actId="571"/>
          <ac:spMkLst>
            <pc:docMk/>
            <pc:sldMk cId="1675062303" sldId="1929"/>
            <ac:spMk id="127" creationId="{6F7ED323-71C9-42A6-9110-862805CD27DD}"/>
          </ac:spMkLst>
        </pc:spChg>
        <pc:spChg chg="add mod">
          <ac:chgData name="Aurelien Domont" userId="6da7715ce44349b3" providerId="LiveId" clId="{2CD95218-941C-4820-B0D1-138B992882CB}" dt="2021-04-16T06:44:24.864" v="595" actId="571"/>
          <ac:spMkLst>
            <pc:docMk/>
            <pc:sldMk cId="1675062303" sldId="1929"/>
            <ac:spMk id="128" creationId="{39161F0E-E10A-486A-B1BA-B4FB086D9983}"/>
          </ac:spMkLst>
        </pc:spChg>
        <pc:spChg chg="add mod">
          <ac:chgData name="Aurelien Domont" userId="6da7715ce44349b3" providerId="LiveId" clId="{2CD95218-941C-4820-B0D1-138B992882CB}" dt="2021-04-16T06:44:24.864" v="595" actId="571"/>
          <ac:spMkLst>
            <pc:docMk/>
            <pc:sldMk cId="1675062303" sldId="1929"/>
            <ac:spMk id="129" creationId="{45EC561E-E6B8-4817-8110-320A9CA57708}"/>
          </ac:spMkLst>
        </pc:spChg>
        <pc:spChg chg="add mod">
          <ac:chgData name="Aurelien Domont" userId="6da7715ce44349b3" providerId="LiveId" clId="{2CD95218-941C-4820-B0D1-138B992882CB}" dt="2021-04-16T06:44:24.864" v="595" actId="571"/>
          <ac:spMkLst>
            <pc:docMk/>
            <pc:sldMk cId="1675062303" sldId="1929"/>
            <ac:spMk id="130" creationId="{0507DA3C-E398-4D0F-8B3E-CF196E420732}"/>
          </ac:spMkLst>
        </pc:spChg>
        <pc:spChg chg="add mod">
          <ac:chgData name="Aurelien Domont" userId="6da7715ce44349b3" providerId="LiveId" clId="{2CD95218-941C-4820-B0D1-138B992882CB}" dt="2021-04-16T06:49:42.200" v="702" actId="1038"/>
          <ac:spMkLst>
            <pc:docMk/>
            <pc:sldMk cId="1675062303" sldId="1929"/>
            <ac:spMk id="131" creationId="{C76B7FBD-575B-4C5A-8FB1-1F63D05FA9D3}"/>
          </ac:spMkLst>
        </pc:spChg>
        <pc:spChg chg="add mod">
          <ac:chgData name="Aurelien Domont" userId="6da7715ce44349b3" providerId="LiveId" clId="{2CD95218-941C-4820-B0D1-138B992882CB}" dt="2021-04-16T06:50:01.228" v="703" actId="207"/>
          <ac:spMkLst>
            <pc:docMk/>
            <pc:sldMk cId="1675062303" sldId="1929"/>
            <ac:spMk id="132" creationId="{C4702D20-AE96-4591-B64C-5F6124810436}"/>
          </ac:spMkLst>
        </pc:spChg>
        <pc:spChg chg="add mod">
          <ac:chgData name="Aurelien Domont" userId="6da7715ce44349b3" providerId="LiveId" clId="{2CD95218-941C-4820-B0D1-138B992882CB}" dt="2021-04-16T06:50:06.325" v="704" actId="207"/>
          <ac:spMkLst>
            <pc:docMk/>
            <pc:sldMk cId="1675062303" sldId="1929"/>
            <ac:spMk id="133" creationId="{3C778625-C3D1-48F2-9A33-8781BDF318D9}"/>
          </ac:spMkLst>
        </pc:spChg>
        <pc:spChg chg="add mod">
          <ac:chgData name="Aurelien Domont" userId="6da7715ce44349b3" providerId="LiveId" clId="{2CD95218-941C-4820-B0D1-138B992882CB}" dt="2021-04-19T06:32:05.026" v="959" actId="403"/>
          <ac:spMkLst>
            <pc:docMk/>
            <pc:sldMk cId="1675062303" sldId="1929"/>
            <ac:spMk id="134" creationId="{9F7B0102-BF60-409B-805B-AF8E279D995D}"/>
          </ac:spMkLst>
        </pc:spChg>
        <pc:spChg chg="add mod">
          <ac:chgData name="Aurelien Domont" userId="6da7715ce44349b3" providerId="LiveId" clId="{2CD95218-941C-4820-B0D1-138B992882CB}" dt="2021-04-19T06:32:05.026" v="959" actId="403"/>
          <ac:spMkLst>
            <pc:docMk/>
            <pc:sldMk cId="1675062303" sldId="1929"/>
            <ac:spMk id="135" creationId="{57207B5B-D1F3-4165-913A-654F2037E3F7}"/>
          </ac:spMkLst>
        </pc:spChg>
        <pc:spChg chg="add mod">
          <ac:chgData name="Aurelien Domont" userId="6da7715ce44349b3" providerId="LiveId" clId="{2CD95218-941C-4820-B0D1-138B992882CB}" dt="2021-04-19T06:32:05.026" v="959" actId="403"/>
          <ac:spMkLst>
            <pc:docMk/>
            <pc:sldMk cId="1675062303" sldId="1929"/>
            <ac:spMk id="136" creationId="{DD11B4CC-8375-4E46-9695-8945699A76EB}"/>
          </ac:spMkLst>
        </pc:spChg>
        <pc:spChg chg="add mod">
          <ac:chgData name="Aurelien Domont" userId="6da7715ce44349b3" providerId="LiveId" clId="{2CD95218-941C-4820-B0D1-138B992882CB}" dt="2021-04-19T06:32:05.026" v="959" actId="403"/>
          <ac:spMkLst>
            <pc:docMk/>
            <pc:sldMk cId="1675062303" sldId="1929"/>
            <ac:spMk id="137" creationId="{09F2F1FD-0DD4-4BC9-A134-FA6F6B3532F5}"/>
          </ac:spMkLst>
        </pc:spChg>
        <pc:spChg chg="add mod">
          <ac:chgData name="Aurelien Domont" userId="6da7715ce44349b3" providerId="LiveId" clId="{2CD95218-941C-4820-B0D1-138B992882CB}" dt="2021-04-19T06:32:05.026" v="959" actId="403"/>
          <ac:spMkLst>
            <pc:docMk/>
            <pc:sldMk cId="1675062303" sldId="1929"/>
            <ac:spMk id="138" creationId="{CB843DD2-5ED4-4834-BCF3-CF9547B98AD8}"/>
          </ac:spMkLst>
        </pc:spChg>
        <pc:spChg chg="add mod">
          <ac:chgData name="Aurelien Domont" userId="6da7715ce44349b3" providerId="LiveId" clId="{2CD95218-941C-4820-B0D1-138B992882CB}" dt="2021-04-19T06:32:05.026" v="959" actId="403"/>
          <ac:spMkLst>
            <pc:docMk/>
            <pc:sldMk cId="1675062303" sldId="1929"/>
            <ac:spMk id="139" creationId="{878081A9-CE92-4D3B-826A-E4691FA892B6}"/>
          </ac:spMkLst>
        </pc:spChg>
        <pc:spChg chg="add mod">
          <ac:chgData name="Aurelien Domont" userId="6da7715ce44349b3" providerId="LiveId" clId="{2CD95218-941C-4820-B0D1-138B992882CB}" dt="2021-04-19T06:32:05.026" v="959" actId="403"/>
          <ac:spMkLst>
            <pc:docMk/>
            <pc:sldMk cId="1675062303" sldId="1929"/>
            <ac:spMk id="140" creationId="{FC3954BD-DE92-41AD-B346-CC4FDE7DA8DD}"/>
          </ac:spMkLst>
        </pc:spChg>
        <pc:spChg chg="add mod">
          <ac:chgData name="Aurelien Domont" userId="6da7715ce44349b3" providerId="LiveId" clId="{2CD95218-941C-4820-B0D1-138B992882CB}" dt="2021-04-19T06:32:05.026" v="959" actId="403"/>
          <ac:spMkLst>
            <pc:docMk/>
            <pc:sldMk cId="1675062303" sldId="1929"/>
            <ac:spMk id="141" creationId="{40267ADE-78B5-4E46-9230-EEC44DCF8915}"/>
          </ac:spMkLst>
        </pc:spChg>
        <pc:spChg chg="add mod">
          <ac:chgData name="Aurelien Domont" userId="6da7715ce44349b3" providerId="LiveId" clId="{2CD95218-941C-4820-B0D1-138B992882CB}" dt="2021-04-19T06:32:05.026" v="959" actId="403"/>
          <ac:spMkLst>
            <pc:docMk/>
            <pc:sldMk cId="1675062303" sldId="1929"/>
            <ac:spMk id="142" creationId="{97AC1EF8-79EC-4B9C-B7F5-6A01790A6CFC}"/>
          </ac:spMkLst>
        </pc:spChg>
        <pc:spChg chg="add mod">
          <ac:chgData name="Aurelien Domont" userId="6da7715ce44349b3" providerId="LiveId" clId="{2CD95218-941C-4820-B0D1-138B992882CB}" dt="2021-04-19T06:32:05.026" v="959" actId="403"/>
          <ac:spMkLst>
            <pc:docMk/>
            <pc:sldMk cId="1675062303" sldId="1929"/>
            <ac:spMk id="143" creationId="{CBA393DC-374A-45EC-9D5C-DD66DBC27679}"/>
          </ac:spMkLst>
        </pc:spChg>
        <pc:spChg chg="add mod">
          <ac:chgData name="Aurelien Domont" userId="6da7715ce44349b3" providerId="LiveId" clId="{2CD95218-941C-4820-B0D1-138B992882CB}" dt="2021-04-19T06:32:05.026" v="959" actId="403"/>
          <ac:spMkLst>
            <pc:docMk/>
            <pc:sldMk cId="1675062303" sldId="1929"/>
            <ac:spMk id="144" creationId="{24EBFD13-D8FA-4BB2-8E82-E3DC84588609}"/>
          </ac:spMkLst>
        </pc:spChg>
        <pc:spChg chg="add mod">
          <ac:chgData name="Aurelien Domont" userId="6da7715ce44349b3" providerId="LiveId" clId="{2CD95218-941C-4820-B0D1-138B992882CB}" dt="2021-04-19T06:32:05.026" v="959" actId="403"/>
          <ac:spMkLst>
            <pc:docMk/>
            <pc:sldMk cId="1675062303" sldId="1929"/>
            <ac:spMk id="145" creationId="{B0B0B941-236C-404F-B06F-D297AE66A220}"/>
          </ac:spMkLst>
        </pc:spChg>
        <pc:spChg chg="add mod">
          <ac:chgData name="Aurelien Domont" userId="6da7715ce44349b3" providerId="LiveId" clId="{2CD95218-941C-4820-B0D1-138B992882CB}" dt="2021-04-19T06:32:05.026" v="959" actId="403"/>
          <ac:spMkLst>
            <pc:docMk/>
            <pc:sldMk cId="1675062303" sldId="1929"/>
            <ac:spMk id="146" creationId="{1810207E-BE89-4502-AE0B-98BF06074BB0}"/>
          </ac:spMkLst>
        </pc:spChg>
        <pc:spChg chg="add mod">
          <ac:chgData name="Aurelien Domont" userId="6da7715ce44349b3" providerId="LiveId" clId="{2CD95218-941C-4820-B0D1-138B992882CB}" dt="2021-04-19T06:32:05.026" v="959" actId="403"/>
          <ac:spMkLst>
            <pc:docMk/>
            <pc:sldMk cId="1675062303" sldId="1929"/>
            <ac:spMk id="147" creationId="{EC86A18B-42E0-4F54-B91E-128062C4905F}"/>
          </ac:spMkLst>
        </pc:spChg>
        <pc:spChg chg="add mod">
          <ac:chgData name="Aurelien Domont" userId="6da7715ce44349b3" providerId="LiveId" clId="{2CD95218-941C-4820-B0D1-138B992882CB}" dt="2021-04-19T06:32:05.026" v="959" actId="403"/>
          <ac:spMkLst>
            <pc:docMk/>
            <pc:sldMk cId="1675062303" sldId="1929"/>
            <ac:spMk id="148" creationId="{72CFCA3A-6DEC-4BC5-A658-FBBDECF23617}"/>
          </ac:spMkLst>
        </pc:spChg>
        <pc:spChg chg="add mod">
          <ac:chgData name="Aurelien Domont" userId="6da7715ce44349b3" providerId="LiveId" clId="{2CD95218-941C-4820-B0D1-138B992882CB}" dt="2021-04-19T06:32:05.026" v="959" actId="403"/>
          <ac:spMkLst>
            <pc:docMk/>
            <pc:sldMk cId="1675062303" sldId="1929"/>
            <ac:spMk id="149" creationId="{E90DD80E-E38A-4625-91BD-7FDC9312A827}"/>
          </ac:spMkLst>
        </pc:spChg>
        <pc:spChg chg="add mod">
          <ac:chgData name="Aurelien Domont" userId="6da7715ce44349b3" providerId="LiveId" clId="{2CD95218-941C-4820-B0D1-138B992882CB}" dt="2021-04-19T06:32:05.026" v="959" actId="403"/>
          <ac:spMkLst>
            <pc:docMk/>
            <pc:sldMk cId="1675062303" sldId="1929"/>
            <ac:spMk id="150" creationId="{1FAFB220-21F0-4588-9224-442E3063EE2A}"/>
          </ac:spMkLst>
        </pc:spChg>
        <pc:spChg chg="add mod">
          <ac:chgData name="Aurelien Domont" userId="6da7715ce44349b3" providerId="LiveId" clId="{2CD95218-941C-4820-B0D1-138B992882CB}" dt="2021-04-19T06:32:05.026" v="959" actId="403"/>
          <ac:spMkLst>
            <pc:docMk/>
            <pc:sldMk cId="1675062303" sldId="1929"/>
            <ac:spMk id="151" creationId="{53326BF5-6112-4994-A9DD-3DB8FBAC030B}"/>
          </ac:spMkLst>
        </pc:spChg>
        <pc:spChg chg="add mod">
          <ac:chgData name="Aurelien Domont" userId="6da7715ce44349b3" providerId="LiveId" clId="{2CD95218-941C-4820-B0D1-138B992882CB}" dt="2021-04-19T06:32:05.026" v="959" actId="403"/>
          <ac:spMkLst>
            <pc:docMk/>
            <pc:sldMk cId="1675062303" sldId="1929"/>
            <ac:spMk id="152" creationId="{8D2224F5-2A34-495C-9078-71D32877DE4F}"/>
          </ac:spMkLst>
        </pc:spChg>
        <pc:spChg chg="add mod">
          <ac:chgData name="Aurelien Domont" userId="6da7715ce44349b3" providerId="LiveId" clId="{2CD95218-941C-4820-B0D1-138B992882CB}" dt="2021-04-19T06:32:05.026" v="959" actId="403"/>
          <ac:spMkLst>
            <pc:docMk/>
            <pc:sldMk cId="1675062303" sldId="1929"/>
            <ac:spMk id="153" creationId="{B75A2AEF-BD49-4E7B-8988-854976323B81}"/>
          </ac:spMkLst>
        </pc:spChg>
        <pc:spChg chg="add mod">
          <ac:chgData name="Aurelien Domont" userId="6da7715ce44349b3" providerId="LiveId" clId="{2CD95218-941C-4820-B0D1-138B992882CB}" dt="2021-04-19T06:32:05.026" v="959" actId="403"/>
          <ac:spMkLst>
            <pc:docMk/>
            <pc:sldMk cId="1675062303" sldId="1929"/>
            <ac:spMk id="154" creationId="{3577CCEB-F3AA-475A-9D67-8A938EF2F7EE}"/>
          </ac:spMkLst>
        </pc:spChg>
        <pc:spChg chg="add mod">
          <ac:chgData name="Aurelien Domont" userId="6da7715ce44349b3" providerId="LiveId" clId="{2CD95218-941C-4820-B0D1-138B992882CB}" dt="2021-04-19T06:32:05.026" v="959" actId="403"/>
          <ac:spMkLst>
            <pc:docMk/>
            <pc:sldMk cId="1675062303" sldId="1929"/>
            <ac:spMk id="155" creationId="{A32C28A0-64C1-4752-9999-EDD317702AEB}"/>
          </ac:spMkLst>
        </pc:spChg>
        <pc:spChg chg="add mod">
          <ac:chgData name="Aurelien Domont" userId="6da7715ce44349b3" providerId="LiveId" clId="{2CD95218-941C-4820-B0D1-138B992882CB}" dt="2021-04-19T06:32:05.026" v="959" actId="403"/>
          <ac:spMkLst>
            <pc:docMk/>
            <pc:sldMk cId="1675062303" sldId="1929"/>
            <ac:spMk id="156" creationId="{2AD97465-8C80-44B2-8709-053CF992D6E3}"/>
          </ac:spMkLst>
        </pc:spChg>
        <pc:spChg chg="add mod">
          <ac:chgData name="Aurelien Domont" userId="6da7715ce44349b3" providerId="LiveId" clId="{2CD95218-941C-4820-B0D1-138B992882CB}" dt="2021-04-19T06:32:05.026" v="959" actId="403"/>
          <ac:spMkLst>
            <pc:docMk/>
            <pc:sldMk cId="1675062303" sldId="1929"/>
            <ac:spMk id="157" creationId="{87768643-96E8-4D4F-8897-7C869705224A}"/>
          </ac:spMkLst>
        </pc:spChg>
        <pc:spChg chg="add mod">
          <ac:chgData name="Aurelien Domont" userId="6da7715ce44349b3" providerId="LiveId" clId="{2CD95218-941C-4820-B0D1-138B992882CB}" dt="2021-04-19T06:32:05.026" v="959" actId="403"/>
          <ac:spMkLst>
            <pc:docMk/>
            <pc:sldMk cId="1675062303" sldId="1929"/>
            <ac:spMk id="158" creationId="{D12D99E7-54F3-4DDA-9B48-F445C9AA0126}"/>
          </ac:spMkLst>
        </pc:spChg>
        <pc:spChg chg="add mod">
          <ac:chgData name="Aurelien Domont" userId="6da7715ce44349b3" providerId="LiveId" clId="{2CD95218-941C-4820-B0D1-138B992882CB}" dt="2021-04-19T06:32:05.026" v="959" actId="403"/>
          <ac:spMkLst>
            <pc:docMk/>
            <pc:sldMk cId="1675062303" sldId="1929"/>
            <ac:spMk id="159" creationId="{9854AE39-DA0B-4240-BF0E-47BC08F2A541}"/>
          </ac:spMkLst>
        </pc:spChg>
        <pc:spChg chg="add mod">
          <ac:chgData name="Aurelien Domont" userId="6da7715ce44349b3" providerId="LiveId" clId="{2CD95218-941C-4820-B0D1-138B992882CB}" dt="2021-04-19T06:32:05.026" v="959" actId="403"/>
          <ac:spMkLst>
            <pc:docMk/>
            <pc:sldMk cId="1675062303" sldId="1929"/>
            <ac:spMk id="160" creationId="{2BF676F8-D343-4096-99EC-4ADA96C4F8D2}"/>
          </ac:spMkLst>
        </pc:spChg>
        <pc:grpChg chg="del mod">
          <ac:chgData name="Aurelien Domont" userId="6da7715ce44349b3" providerId="LiveId" clId="{2CD95218-941C-4820-B0D1-138B992882CB}" dt="2021-04-16T06:25:32.484" v="139" actId="165"/>
          <ac:grpSpMkLst>
            <pc:docMk/>
            <pc:sldMk cId="1675062303" sldId="1929"/>
            <ac:grpSpMk id="52" creationId="{4F542718-D14F-43E6-8DBC-0704A9470E16}"/>
          </ac:grpSpMkLst>
        </pc:grpChg>
        <pc:cxnChg chg="mod topLvl">
          <ac:chgData name="Aurelien Domont" userId="6da7715ce44349b3" providerId="LiveId" clId="{2CD95218-941C-4820-B0D1-138B992882CB}" dt="2021-04-16T06:40:38.246" v="549" actId="1037"/>
          <ac:cxnSpMkLst>
            <pc:docMk/>
            <pc:sldMk cId="1675062303" sldId="1929"/>
            <ac:cxnSpMk id="53" creationId="{59056C98-B5BA-40F9-A432-B7B9C998BC04}"/>
          </ac:cxnSpMkLst>
        </pc:cxnChg>
        <pc:cxnChg chg="mod topLvl">
          <ac:chgData name="Aurelien Domont" userId="6da7715ce44349b3" providerId="LiveId" clId="{2CD95218-941C-4820-B0D1-138B992882CB}" dt="2021-04-16T06:40:38.246" v="549" actId="1037"/>
          <ac:cxnSpMkLst>
            <pc:docMk/>
            <pc:sldMk cId="1675062303" sldId="1929"/>
            <ac:cxnSpMk id="54" creationId="{3E366202-1516-4E2B-8C02-57AD0E3DE466}"/>
          </ac:cxnSpMkLst>
        </pc:cxnChg>
        <pc:cxnChg chg="mod topLvl">
          <ac:chgData name="Aurelien Domont" userId="6da7715ce44349b3" providerId="LiveId" clId="{2CD95218-941C-4820-B0D1-138B992882CB}" dt="2021-04-16T06:40:38.246" v="549" actId="1037"/>
          <ac:cxnSpMkLst>
            <pc:docMk/>
            <pc:sldMk cId="1675062303" sldId="1929"/>
            <ac:cxnSpMk id="55" creationId="{BB26BD6D-ADAD-41FE-A83E-69C7C9BAD262}"/>
          </ac:cxnSpMkLst>
        </pc:cxnChg>
        <pc:cxnChg chg="mod topLvl">
          <ac:chgData name="Aurelien Domont" userId="6da7715ce44349b3" providerId="LiveId" clId="{2CD95218-941C-4820-B0D1-138B992882CB}" dt="2021-04-16T06:40:38.246" v="549" actId="1037"/>
          <ac:cxnSpMkLst>
            <pc:docMk/>
            <pc:sldMk cId="1675062303" sldId="1929"/>
            <ac:cxnSpMk id="56" creationId="{6E3867E8-F754-4326-9D42-38736359E90F}"/>
          </ac:cxnSpMkLst>
        </pc:cxnChg>
      </pc:sldChg>
      <pc:sldChg chg="addSp delSp modSp add del mod">
        <pc:chgData name="Aurelien Domont" userId="6da7715ce44349b3" providerId="LiveId" clId="{2CD95218-941C-4820-B0D1-138B992882CB}" dt="2021-04-20T04:46:31.521" v="4027" actId="20577"/>
        <pc:sldMkLst>
          <pc:docMk/>
          <pc:sldMk cId="471658671" sldId="1930"/>
        </pc:sldMkLst>
        <pc:spChg chg="mod">
          <ac:chgData name="Aurelien Domont" userId="6da7715ce44349b3" providerId="LiveId" clId="{2CD95218-941C-4820-B0D1-138B992882CB}" dt="2021-04-20T04:46:31.521" v="4027" actId="20577"/>
          <ac:spMkLst>
            <pc:docMk/>
            <pc:sldMk cId="471658671" sldId="1930"/>
            <ac:spMk id="16" creationId="{6C2BB713-9637-4B9B-938F-E9768876782A}"/>
          </ac:spMkLst>
        </pc:spChg>
        <pc:spChg chg="mod ord">
          <ac:chgData name="Aurelien Domont" userId="6da7715ce44349b3" providerId="LiveId" clId="{2CD95218-941C-4820-B0D1-138B992882CB}" dt="2021-04-20T01:56:58.273" v="1204" actId="1076"/>
          <ac:spMkLst>
            <pc:docMk/>
            <pc:sldMk cId="471658671" sldId="1930"/>
            <ac:spMk id="115" creationId="{47E6D793-402B-40C3-ADA8-A8A0AFB9A327}"/>
          </ac:spMkLst>
        </pc:spChg>
        <pc:picChg chg="add mod">
          <ac:chgData name="Aurelien Domont" userId="6da7715ce44349b3" providerId="LiveId" clId="{2CD95218-941C-4820-B0D1-138B992882CB}" dt="2021-04-20T01:56:39.907" v="1198" actId="1440"/>
          <ac:picMkLst>
            <pc:docMk/>
            <pc:sldMk cId="471658671" sldId="1930"/>
            <ac:picMk id="4" creationId="{B2680DA5-5D4F-4332-A7E2-6125046E51C0}"/>
          </ac:picMkLst>
        </pc:picChg>
        <pc:picChg chg="del">
          <ac:chgData name="Aurelien Domont" userId="6da7715ce44349b3" providerId="LiveId" clId="{2CD95218-941C-4820-B0D1-138B992882CB}" dt="2021-04-20T01:56:09.333" v="1194" actId="478"/>
          <ac:picMkLst>
            <pc:docMk/>
            <pc:sldMk cId="471658671" sldId="1930"/>
            <ac:picMk id="113" creationId="{E336B330-0113-446D-818E-6A2F8F2F5862}"/>
          </ac:picMkLst>
        </pc:picChg>
        <pc:picChg chg="mod ord">
          <ac:chgData name="Aurelien Domont" userId="6da7715ce44349b3" providerId="LiveId" clId="{2CD95218-941C-4820-B0D1-138B992882CB}" dt="2021-04-20T01:56:55.320" v="1203" actId="1076"/>
          <ac:picMkLst>
            <pc:docMk/>
            <pc:sldMk cId="471658671" sldId="1930"/>
            <ac:picMk id="114" creationId="{7A1BDBA4-D060-4EBE-B6E3-8079EB2C3297}"/>
          </ac:picMkLst>
        </pc:picChg>
      </pc:sldChg>
      <pc:sldChg chg="del">
        <pc:chgData name="Aurelien Domont" userId="6da7715ce44349b3" providerId="LiveId" clId="{2CD95218-941C-4820-B0D1-138B992882CB}" dt="2021-04-16T06:19:49.656" v="14" actId="47"/>
        <pc:sldMkLst>
          <pc:docMk/>
          <pc:sldMk cId="1476473816" sldId="1931"/>
        </pc:sldMkLst>
      </pc:sldChg>
      <pc:sldChg chg="add del">
        <pc:chgData name="Aurelien Domont" userId="6da7715ce44349b3" providerId="LiveId" clId="{2CD95218-941C-4820-B0D1-138B992882CB}" dt="2021-04-16T06:51:23.544" v="718" actId="47"/>
        <pc:sldMkLst>
          <pc:docMk/>
          <pc:sldMk cId="3194551129" sldId="1931"/>
        </pc:sldMkLst>
      </pc:sldChg>
      <pc:sldChg chg="del">
        <pc:chgData name="Aurelien Domont" userId="6da7715ce44349b3" providerId="LiveId" clId="{2CD95218-941C-4820-B0D1-138B992882CB}" dt="2021-04-16T06:19:49.656" v="14" actId="47"/>
        <pc:sldMkLst>
          <pc:docMk/>
          <pc:sldMk cId="3974572695" sldId="1932"/>
        </pc:sldMkLst>
      </pc:sldChg>
      <pc:sldChg chg="del">
        <pc:chgData name="Aurelien Domont" userId="6da7715ce44349b3" providerId="LiveId" clId="{2CD95218-941C-4820-B0D1-138B992882CB}" dt="2021-04-16T06:19:49.656" v="14" actId="47"/>
        <pc:sldMkLst>
          <pc:docMk/>
          <pc:sldMk cId="2148320991" sldId="1933"/>
        </pc:sldMkLst>
      </pc:sldChg>
      <pc:sldChg chg="del">
        <pc:chgData name="Aurelien Domont" userId="6da7715ce44349b3" providerId="LiveId" clId="{2CD95218-941C-4820-B0D1-138B992882CB}" dt="2021-04-16T06:19:49.656" v="14" actId="47"/>
        <pc:sldMkLst>
          <pc:docMk/>
          <pc:sldMk cId="1904317979" sldId="1934"/>
        </pc:sldMkLst>
      </pc:sldChg>
      <pc:sldChg chg="del">
        <pc:chgData name="Aurelien Domont" userId="6da7715ce44349b3" providerId="LiveId" clId="{2CD95218-941C-4820-B0D1-138B992882CB}" dt="2021-04-16T06:19:49.656" v="14" actId="47"/>
        <pc:sldMkLst>
          <pc:docMk/>
          <pc:sldMk cId="2958814465" sldId="1935"/>
        </pc:sldMkLst>
      </pc:sldChg>
      <pc:sldChg chg="del">
        <pc:chgData name="Aurelien Domont" userId="6da7715ce44349b3" providerId="LiveId" clId="{2CD95218-941C-4820-B0D1-138B992882CB}" dt="2021-04-16T06:19:49.656" v="14" actId="47"/>
        <pc:sldMkLst>
          <pc:docMk/>
          <pc:sldMk cId="1543338902" sldId="1936"/>
        </pc:sldMkLst>
      </pc:sldChg>
      <pc:sldChg chg="del">
        <pc:chgData name="Aurelien Domont" userId="6da7715ce44349b3" providerId="LiveId" clId="{2CD95218-941C-4820-B0D1-138B992882CB}" dt="2021-04-16T06:19:49.656" v="14" actId="47"/>
        <pc:sldMkLst>
          <pc:docMk/>
          <pc:sldMk cId="832785403" sldId="1943"/>
        </pc:sldMkLst>
      </pc:sldChg>
      <pc:sldChg chg="del">
        <pc:chgData name="Aurelien Domont" userId="6da7715ce44349b3" providerId="LiveId" clId="{2CD95218-941C-4820-B0D1-138B992882CB}" dt="2021-04-16T06:19:49.656" v="14" actId="47"/>
        <pc:sldMkLst>
          <pc:docMk/>
          <pc:sldMk cId="1724388861" sldId="1944"/>
        </pc:sldMkLst>
      </pc:sldChg>
      <pc:sldChg chg="del">
        <pc:chgData name="Aurelien Domont" userId="6da7715ce44349b3" providerId="LiveId" clId="{2CD95218-941C-4820-B0D1-138B992882CB}" dt="2021-04-16T06:19:49.656" v="14" actId="47"/>
        <pc:sldMkLst>
          <pc:docMk/>
          <pc:sldMk cId="3829138991" sldId="1945"/>
        </pc:sldMkLst>
      </pc:sldChg>
      <pc:sldChg chg="del">
        <pc:chgData name="Aurelien Domont" userId="6da7715ce44349b3" providerId="LiveId" clId="{2CD95218-941C-4820-B0D1-138B992882CB}" dt="2021-04-16T06:19:49.656" v="14" actId="47"/>
        <pc:sldMkLst>
          <pc:docMk/>
          <pc:sldMk cId="2601056755" sldId="1946"/>
        </pc:sldMkLst>
      </pc:sldChg>
      <pc:sldChg chg="del">
        <pc:chgData name="Aurelien Domont" userId="6da7715ce44349b3" providerId="LiveId" clId="{2CD95218-941C-4820-B0D1-138B992882CB}" dt="2021-04-16T06:19:49.656" v="14" actId="47"/>
        <pc:sldMkLst>
          <pc:docMk/>
          <pc:sldMk cId="1756555481" sldId="1947"/>
        </pc:sldMkLst>
      </pc:sldChg>
      <pc:sldChg chg="del">
        <pc:chgData name="Aurelien Domont" userId="6da7715ce44349b3" providerId="LiveId" clId="{2CD95218-941C-4820-B0D1-138B992882CB}" dt="2021-04-16T06:19:49.656" v="14" actId="47"/>
        <pc:sldMkLst>
          <pc:docMk/>
          <pc:sldMk cId="3821998682" sldId="1948"/>
        </pc:sldMkLst>
      </pc:sldChg>
      <pc:sldChg chg="del">
        <pc:chgData name="Aurelien Domont" userId="6da7715ce44349b3" providerId="LiveId" clId="{2CD95218-941C-4820-B0D1-138B992882CB}" dt="2021-04-16T06:19:49.656" v="14" actId="47"/>
        <pc:sldMkLst>
          <pc:docMk/>
          <pc:sldMk cId="1835011772" sldId="1949"/>
        </pc:sldMkLst>
      </pc:sldChg>
      <pc:sldChg chg="del">
        <pc:chgData name="Aurelien Domont" userId="6da7715ce44349b3" providerId="LiveId" clId="{2CD95218-941C-4820-B0D1-138B992882CB}" dt="2021-04-16T06:19:49.656" v="14" actId="47"/>
        <pc:sldMkLst>
          <pc:docMk/>
          <pc:sldMk cId="247313450" sldId="1950"/>
        </pc:sldMkLst>
      </pc:sldChg>
      <pc:sldChg chg="del">
        <pc:chgData name="Aurelien Domont" userId="6da7715ce44349b3" providerId="LiveId" clId="{2CD95218-941C-4820-B0D1-138B992882CB}" dt="2021-04-16T06:19:49.656" v="14" actId="47"/>
        <pc:sldMkLst>
          <pc:docMk/>
          <pc:sldMk cId="861151606" sldId="1951"/>
        </pc:sldMkLst>
      </pc:sldChg>
      <pc:sldChg chg="del">
        <pc:chgData name="Aurelien Domont" userId="6da7715ce44349b3" providerId="LiveId" clId="{2CD95218-941C-4820-B0D1-138B992882CB}" dt="2021-04-16T06:19:49.656" v="14" actId="47"/>
        <pc:sldMkLst>
          <pc:docMk/>
          <pc:sldMk cId="2091045330" sldId="1952"/>
        </pc:sldMkLst>
      </pc:sldChg>
      <pc:sldChg chg="del">
        <pc:chgData name="Aurelien Domont" userId="6da7715ce44349b3" providerId="LiveId" clId="{2CD95218-941C-4820-B0D1-138B992882CB}" dt="2021-04-16T06:19:49.656" v="14" actId="47"/>
        <pc:sldMkLst>
          <pc:docMk/>
          <pc:sldMk cId="4032470605" sldId="1953"/>
        </pc:sldMkLst>
      </pc:sldChg>
      <pc:sldChg chg="del">
        <pc:chgData name="Aurelien Domont" userId="6da7715ce44349b3" providerId="LiveId" clId="{2CD95218-941C-4820-B0D1-138B992882CB}" dt="2021-04-16T06:19:49.656" v="14" actId="47"/>
        <pc:sldMkLst>
          <pc:docMk/>
          <pc:sldMk cId="465122809" sldId="1954"/>
        </pc:sldMkLst>
      </pc:sldChg>
      <pc:sldChg chg="del">
        <pc:chgData name="Aurelien Domont" userId="6da7715ce44349b3" providerId="LiveId" clId="{2CD95218-941C-4820-B0D1-138B992882CB}" dt="2021-04-16T06:19:49.656" v="14" actId="47"/>
        <pc:sldMkLst>
          <pc:docMk/>
          <pc:sldMk cId="3264366395" sldId="1955"/>
        </pc:sldMkLst>
      </pc:sldChg>
      <pc:sldChg chg="del">
        <pc:chgData name="Aurelien Domont" userId="6da7715ce44349b3" providerId="LiveId" clId="{2CD95218-941C-4820-B0D1-138B992882CB}" dt="2021-04-16T06:19:49.656" v="14" actId="47"/>
        <pc:sldMkLst>
          <pc:docMk/>
          <pc:sldMk cId="3045459513" sldId="1956"/>
        </pc:sldMkLst>
      </pc:sldChg>
      <pc:sldChg chg="del">
        <pc:chgData name="Aurelien Domont" userId="6da7715ce44349b3" providerId="LiveId" clId="{2CD95218-941C-4820-B0D1-138B992882CB}" dt="2021-04-16T06:19:49.656" v="14" actId="47"/>
        <pc:sldMkLst>
          <pc:docMk/>
          <pc:sldMk cId="3212518478" sldId="1957"/>
        </pc:sldMkLst>
      </pc:sldChg>
      <pc:sldChg chg="del">
        <pc:chgData name="Aurelien Domont" userId="6da7715ce44349b3" providerId="LiveId" clId="{2CD95218-941C-4820-B0D1-138B992882CB}" dt="2021-04-16T06:19:49.656" v="14" actId="47"/>
        <pc:sldMkLst>
          <pc:docMk/>
          <pc:sldMk cId="1332684990" sldId="1958"/>
        </pc:sldMkLst>
      </pc:sldChg>
      <pc:sldChg chg="del">
        <pc:chgData name="Aurelien Domont" userId="6da7715ce44349b3" providerId="LiveId" clId="{2CD95218-941C-4820-B0D1-138B992882CB}" dt="2021-04-16T06:19:49.656" v="14" actId="47"/>
        <pc:sldMkLst>
          <pc:docMk/>
          <pc:sldMk cId="3299486938" sldId="1959"/>
        </pc:sldMkLst>
      </pc:sldChg>
      <pc:sldChg chg="del">
        <pc:chgData name="Aurelien Domont" userId="6da7715ce44349b3" providerId="LiveId" clId="{2CD95218-941C-4820-B0D1-138B992882CB}" dt="2021-04-16T06:19:49.656" v="14" actId="47"/>
        <pc:sldMkLst>
          <pc:docMk/>
          <pc:sldMk cId="1373343180" sldId="1960"/>
        </pc:sldMkLst>
      </pc:sldChg>
      <pc:sldChg chg="del">
        <pc:chgData name="Aurelien Domont" userId="6da7715ce44349b3" providerId="LiveId" clId="{2CD95218-941C-4820-B0D1-138B992882CB}" dt="2021-04-16T06:19:49.656" v="14" actId="47"/>
        <pc:sldMkLst>
          <pc:docMk/>
          <pc:sldMk cId="856320715" sldId="1961"/>
        </pc:sldMkLst>
      </pc:sldChg>
      <pc:sldChg chg="del">
        <pc:chgData name="Aurelien Domont" userId="6da7715ce44349b3" providerId="LiveId" clId="{2CD95218-941C-4820-B0D1-138B992882CB}" dt="2021-04-16T06:19:49.656" v="14" actId="47"/>
        <pc:sldMkLst>
          <pc:docMk/>
          <pc:sldMk cId="46986138" sldId="1962"/>
        </pc:sldMkLst>
      </pc:sldChg>
      <pc:sldChg chg="del">
        <pc:chgData name="Aurelien Domont" userId="6da7715ce44349b3" providerId="LiveId" clId="{2CD95218-941C-4820-B0D1-138B992882CB}" dt="2021-04-16T06:19:49.656" v="14" actId="47"/>
        <pc:sldMkLst>
          <pc:docMk/>
          <pc:sldMk cId="3230212261" sldId="1963"/>
        </pc:sldMkLst>
      </pc:sldChg>
      <pc:sldChg chg="del">
        <pc:chgData name="Aurelien Domont" userId="6da7715ce44349b3" providerId="LiveId" clId="{2CD95218-941C-4820-B0D1-138B992882CB}" dt="2021-04-16T06:19:49.656" v="14" actId="47"/>
        <pc:sldMkLst>
          <pc:docMk/>
          <pc:sldMk cId="2151752702" sldId="1964"/>
        </pc:sldMkLst>
      </pc:sldChg>
      <pc:sldChg chg="del">
        <pc:chgData name="Aurelien Domont" userId="6da7715ce44349b3" providerId="LiveId" clId="{2CD95218-941C-4820-B0D1-138B992882CB}" dt="2021-04-16T06:19:49.656" v="14" actId="47"/>
        <pc:sldMkLst>
          <pc:docMk/>
          <pc:sldMk cId="2719043106" sldId="1965"/>
        </pc:sldMkLst>
      </pc:sldChg>
      <pc:sldChg chg="del">
        <pc:chgData name="Aurelien Domont" userId="6da7715ce44349b3" providerId="LiveId" clId="{2CD95218-941C-4820-B0D1-138B992882CB}" dt="2021-04-16T06:19:49.656" v="14" actId="47"/>
        <pc:sldMkLst>
          <pc:docMk/>
          <pc:sldMk cId="1760472209" sldId="1966"/>
        </pc:sldMkLst>
      </pc:sldChg>
      <pc:sldChg chg="del">
        <pc:chgData name="Aurelien Domont" userId="6da7715ce44349b3" providerId="LiveId" clId="{2CD95218-941C-4820-B0D1-138B992882CB}" dt="2021-04-16T06:19:49.656" v="14" actId="47"/>
        <pc:sldMkLst>
          <pc:docMk/>
          <pc:sldMk cId="442022269" sldId="1967"/>
        </pc:sldMkLst>
      </pc:sldChg>
      <pc:sldChg chg="del">
        <pc:chgData name="Aurelien Domont" userId="6da7715ce44349b3" providerId="LiveId" clId="{2CD95218-941C-4820-B0D1-138B992882CB}" dt="2021-04-16T06:19:49.656" v="14" actId="47"/>
        <pc:sldMkLst>
          <pc:docMk/>
          <pc:sldMk cId="776701674" sldId="1968"/>
        </pc:sldMkLst>
      </pc:sldChg>
      <pc:sldChg chg="del">
        <pc:chgData name="Aurelien Domont" userId="6da7715ce44349b3" providerId="LiveId" clId="{2CD95218-941C-4820-B0D1-138B992882CB}" dt="2021-04-16T06:19:49.656" v="14" actId="47"/>
        <pc:sldMkLst>
          <pc:docMk/>
          <pc:sldMk cId="227595386" sldId="1969"/>
        </pc:sldMkLst>
      </pc:sldChg>
      <pc:sldChg chg="del">
        <pc:chgData name="Aurelien Domont" userId="6da7715ce44349b3" providerId="LiveId" clId="{2CD95218-941C-4820-B0D1-138B992882CB}" dt="2021-04-16T06:19:49.656" v="14" actId="47"/>
        <pc:sldMkLst>
          <pc:docMk/>
          <pc:sldMk cId="1457388413" sldId="1970"/>
        </pc:sldMkLst>
      </pc:sldChg>
      <pc:sldChg chg="del">
        <pc:chgData name="Aurelien Domont" userId="6da7715ce44349b3" providerId="LiveId" clId="{2CD95218-941C-4820-B0D1-138B992882CB}" dt="2021-04-16T06:19:49.656" v="14" actId="47"/>
        <pc:sldMkLst>
          <pc:docMk/>
          <pc:sldMk cId="3330626721" sldId="1971"/>
        </pc:sldMkLst>
      </pc:sldChg>
      <pc:sldChg chg="del">
        <pc:chgData name="Aurelien Domont" userId="6da7715ce44349b3" providerId="LiveId" clId="{2CD95218-941C-4820-B0D1-138B992882CB}" dt="2021-04-16T06:19:49.656" v="14" actId="47"/>
        <pc:sldMkLst>
          <pc:docMk/>
          <pc:sldMk cId="1817574191" sldId="1972"/>
        </pc:sldMkLst>
      </pc:sldChg>
      <pc:sldChg chg="del">
        <pc:chgData name="Aurelien Domont" userId="6da7715ce44349b3" providerId="LiveId" clId="{2CD95218-941C-4820-B0D1-138B992882CB}" dt="2021-04-16T06:19:49.656" v="14" actId="47"/>
        <pc:sldMkLst>
          <pc:docMk/>
          <pc:sldMk cId="417532223" sldId="1973"/>
        </pc:sldMkLst>
      </pc:sldChg>
      <pc:sldChg chg="del">
        <pc:chgData name="Aurelien Domont" userId="6da7715ce44349b3" providerId="LiveId" clId="{2CD95218-941C-4820-B0D1-138B992882CB}" dt="2021-04-16T06:19:49.656" v="14" actId="47"/>
        <pc:sldMkLst>
          <pc:docMk/>
          <pc:sldMk cId="535454910" sldId="1974"/>
        </pc:sldMkLst>
      </pc:sldChg>
      <pc:sldChg chg="del">
        <pc:chgData name="Aurelien Domont" userId="6da7715ce44349b3" providerId="LiveId" clId="{2CD95218-941C-4820-B0D1-138B992882CB}" dt="2021-04-16T06:19:49.656" v="14" actId="47"/>
        <pc:sldMkLst>
          <pc:docMk/>
          <pc:sldMk cId="284582528" sldId="1975"/>
        </pc:sldMkLst>
      </pc:sldChg>
      <pc:sldChg chg="del">
        <pc:chgData name="Aurelien Domont" userId="6da7715ce44349b3" providerId="LiveId" clId="{2CD95218-941C-4820-B0D1-138B992882CB}" dt="2021-04-16T06:19:49.656" v="14" actId="47"/>
        <pc:sldMkLst>
          <pc:docMk/>
          <pc:sldMk cId="2708523607" sldId="1976"/>
        </pc:sldMkLst>
      </pc:sldChg>
      <pc:sldChg chg="del">
        <pc:chgData name="Aurelien Domont" userId="6da7715ce44349b3" providerId="LiveId" clId="{2CD95218-941C-4820-B0D1-138B992882CB}" dt="2021-04-16T06:19:49.656" v="14" actId="47"/>
        <pc:sldMkLst>
          <pc:docMk/>
          <pc:sldMk cId="350950659" sldId="1977"/>
        </pc:sldMkLst>
      </pc:sldChg>
      <pc:sldChg chg="del">
        <pc:chgData name="Aurelien Domont" userId="6da7715ce44349b3" providerId="LiveId" clId="{2CD95218-941C-4820-B0D1-138B992882CB}" dt="2021-04-16T06:19:49.656" v="14" actId="47"/>
        <pc:sldMkLst>
          <pc:docMk/>
          <pc:sldMk cId="2541933330" sldId="1978"/>
        </pc:sldMkLst>
      </pc:sldChg>
      <pc:sldChg chg="del">
        <pc:chgData name="Aurelien Domont" userId="6da7715ce44349b3" providerId="LiveId" clId="{2CD95218-941C-4820-B0D1-138B992882CB}" dt="2021-04-16T06:19:49.656" v="14" actId="47"/>
        <pc:sldMkLst>
          <pc:docMk/>
          <pc:sldMk cId="3936496249" sldId="1979"/>
        </pc:sldMkLst>
      </pc:sldChg>
      <pc:sldChg chg="del">
        <pc:chgData name="Aurelien Domont" userId="6da7715ce44349b3" providerId="LiveId" clId="{2CD95218-941C-4820-B0D1-138B992882CB}" dt="2021-04-16T06:19:49.656" v="14" actId="47"/>
        <pc:sldMkLst>
          <pc:docMk/>
          <pc:sldMk cId="71073920" sldId="1980"/>
        </pc:sldMkLst>
      </pc:sldChg>
      <pc:sldChg chg="del">
        <pc:chgData name="Aurelien Domont" userId="6da7715ce44349b3" providerId="LiveId" clId="{2CD95218-941C-4820-B0D1-138B992882CB}" dt="2021-04-16T06:19:49.656" v="14" actId="47"/>
        <pc:sldMkLst>
          <pc:docMk/>
          <pc:sldMk cId="1036919842" sldId="1981"/>
        </pc:sldMkLst>
      </pc:sldChg>
      <pc:sldChg chg="del">
        <pc:chgData name="Aurelien Domont" userId="6da7715ce44349b3" providerId="LiveId" clId="{2CD95218-941C-4820-B0D1-138B992882CB}" dt="2021-04-16T06:19:49.656" v="14" actId="47"/>
        <pc:sldMkLst>
          <pc:docMk/>
          <pc:sldMk cId="897788978" sldId="1982"/>
        </pc:sldMkLst>
      </pc:sldChg>
      <pc:sldChg chg="del">
        <pc:chgData name="Aurelien Domont" userId="6da7715ce44349b3" providerId="LiveId" clId="{2CD95218-941C-4820-B0D1-138B992882CB}" dt="2021-04-16T06:19:49.656" v="14" actId="47"/>
        <pc:sldMkLst>
          <pc:docMk/>
          <pc:sldMk cId="2261833585" sldId="1983"/>
        </pc:sldMkLst>
      </pc:sldChg>
      <pc:sldChg chg="del">
        <pc:chgData name="Aurelien Domont" userId="6da7715ce44349b3" providerId="LiveId" clId="{2CD95218-941C-4820-B0D1-138B992882CB}" dt="2021-04-16T06:19:49.656" v="14" actId="47"/>
        <pc:sldMkLst>
          <pc:docMk/>
          <pc:sldMk cId="4151434563" sldId="1984"/>
        </pc:sldMkLst>
      </pc:sldChg>
      <pc:sldChg chg="del">
        <pc:chgData name="Aurelien Domont" userId="6da7715ce44349b3" providerId="LiveId" clId="{2CD95218-941C-4820-B0D1-138B992882CB}" dt="2021-04-16T06:19:49.656" v="14" actId="47"/>
        <pc:sldMkLst>
          <pc:docMk/>
          <pc:sldMk cId="2515186341" sldId="1985"/>
        </pc:sldMkLst>
      </pc:sldChg>
      <pc:sldChg chg="del">
        <pc:chgData name="Aurelien Domont" userId="6da7715ce44349b3" providerId="LiveId" clId="{2CD95218-941C-4820-B0D1-138B992882CB}" dt="2021-04-16T06:19:49.656" v="14" actId="47"/>
        <pc:sldMkLst>
          <pc:docMk/>
          <pc:sldMk cId="2055076735" sldId="1986"/>
        </pc:sldMkLst>
      </pc:sldChg>
      <pc:sldChg chg="del">
        <pc:chgData name="Aurelien Domont" userId="6da7715ce44349b3" providerId="LiveId" clId="{2CD95218-941C-4820-B0D1-138B992882CB}" dt="2021-04-16T06:19:49.656" v="14" actId="47"/>
        <pc:sldMkLst>
          <pc:docMk/>
          <pc:sldMk cId="2329338112" sldId="1987"/>
        </pc:sldMkLst>
      </pc:sldChg>
      <pc:sldChg chg="del">
        <pc:chgData name="Aurelien Domont" userId="6da7715ce44349b3" providerId="LiveId" clId="{2CD95218-941C-4820-B0D1-138B992882CB}" dt="2021-04-16T06:19:49.656" v="14" actId="47"/>
        <pc:sldMkLst>
          <pc:docMk/>
          <pc:sldMk cId="2068665984" sldId="1988"/>
        </pc:sldMkLst>
      </pc:sldChg>
      <pc:sldChg chg="del">
        <pc:chgData name="Aurelien Domont" userId="6da7715ce44349b3" providerId="LiveId" clId="{2CD95218-941C-4820-B0D1-138B992882CB}" dt="2021-04-16T06:19:49.656" v="14" actId="47"/>
        <pc:sldMkLst>
          <pc:docMk/>
          <pc:sldMk cId="991805020" sldId="1989"/>
        </pc:sldMkLst>
      </pc:sldChg>
      <pc:sldChg chg="del">
        <pc:chgData name="Aurelien Domont" userId="6da7715ce44349b3" providerId="LiveId" clId="{2CD95218-941C-4820-B0D1-138B992882CB}" dt="2021-04-16T06:19:49.656" v="14" actId="47"/>
        <pc:sldMkLst>
          <pc:docMk/>
          <pc:sldMk cId="1888854566" sldId="1990"/>
        </pc:sldMkLst>
      </pc:sldChg>
      <pc:sldChg chg="del">
        <pc:chgData name="Aurelien Domont" userId="6da7715ce44349b3" providerId="LiveId" clId="{2CD95218-941C-4820-B0D1-138B992882CB}" dt="2021-04-16T06:19:49.656" v="14" actId="47"/>
        <pc:sldMkLst>
          <pc:docMk/>
          <pc:sldMk cId="4013192147" sldId="1991"/>
        </pc:sldMkLst>
      </pc:sldChg>
      <pc:sldChg chg="del">
        <pc:chgData name="Aurelien Domont" userId="6da7715ce44349b3" providerId="LiveId" clId="{2CD95218-941C-4820-B0D1-138B992882CB}" dt="2021-04-16T06:19:49.656" v="14" actId="47"/>
        <pc:sldMkLst>
          <pc:docMk/>
          <pc:sldMk cId="914016889" sldId="1992"/>
        </pc:sldMkLst>
      </pc:sldChg>
      <pc:sldChg chg="del">
        <pc:chgData name="Aurelien Domont" userId="6da7715ce44349b3" providerId="LiveId" clId="{2CD95218-941C-4820-B0D1-138B992882CB}" dt="2021-04-16T06:19:49.656" v="14" actId="47"/>
        <pc:sldMkLst>
          <pc:docMk/>
          <pc:sldMk cId="167198795" sldId="1993"/>
        </pc:sldMkLst>
      </pc:sldChg>
      <pc:sldChg chg="del">
        <pc:chgData name="Aurelien Domont" userId="6da7715ce44349b3" providerId="LiveId" clId="{2CD95218-941C-4820-B0D1-138B992882CB}" dt="2021-04-16T06:19:49.656" v="14" actId="47"/>
        <pc:sldMkLst>
          <pc:docMk/>
          <pc:sldMk cId="3165426898" sldId="1994"/>
        </pc:sldMkLst>
      </pc:sldChg>
      <pc:sldChg chg="del">
        <pc:chgData name="Aurelien Domont" userId="6da7715ce44349b3" providerId="LiveId" clId="{2CD95218-941C-4820-B0D1-138B992882CB}" dt="2021-04-16T06:19:49.656" v="14" actId="47"/>
        <pc:sldMkLst>
          <pc:docMk/>
          <pc:sldMk cId="953211725" sldId="1995"/>
        </pc:sldMkLst>
      </pc:sldChg>
      <pc:sldChg chg="del">
        <pc:chgData name="Aurelien Domont" userId="6da7715ce44349b3" providerId="LiveId" clId="{2CD95218-941C-4820-B0D1-138B992882CB}" dt="2021-04-16T06:19:49.656" v="14" actId="47"/>
        <pc:sldMkLst>
          <pc:docMk/>
          <pc:sldMk cId="1829967840" sldId="1996"/>
        </pc:sldMkLst>
      </pc:sldChg>
      <pc:sldChg chg="del">
        <pc:chgData name="Aurelien Domont" userId="6da7715ce44349b3" providerId="LiveId" clId="{2CD95218-941C-4820-B0D1-138B992882CB}" dt="2021-04-16T06:19:49.656" v="14" actId="47"/>
        <pc:sldMkLst>
          <pc:docMk/>
          <pc:sldMk cId="4140853747" sldId="1997"/>
        </pc:sldMkLst>
      </pc:sldChg>
      <pc:sldChg chg="del">
        <pc:chgData name="Aurelien Domont" userId="6da7715ce44349b3" providerId="LiveId" clId="{2CD95218-941C-4820-B0D1-138B992882CB}" dt="2021-04-16T06:19:49.656" v="14" actId="47"/>
        <pc:sldMkLst>
          <pc:docMk/>
          <pc:sldMk cId="2063840657" sldId="1998"/>
        </pc:sldMkLst>
      </pc:sldChg>
      <pc:sldChg chg="del">
        <pc:chgData name="Aurelien Domont" userId="6da7715ce44349b3" providerId="LiveId" clId="{2CD95218-941C-4820-B0D1-138B992882CB}" dt="2021-04-16T06:19:49.656" v="14" actId="47"/>
        <pc:sldMkLst>
          <pc:docMk/>
          <pc:sldMk cId="3823051356" sldId="1999"/>
        </pc:sldMkLst>
      </pc:sldChg>
      <pc:sldChg chg="del">
        <pc:chgData name="Aurelien Domont" userId="6da7715ce44349b3" providerId="LiveId" clId="{2CD95218-941C-4820-B0D1-138B992882CB}" dt="2021-04-16T06:19:49.656" v="14" actId="47"/>
        <pc:sldMkLst>
          <pc:docMk/>
          <pc:sldMk cId="3453285050" sldId="2000"/>
        </pc:sldMkLst>
      </pc:sldChg>
      <pc:sldChg chg="del">
        <pc:chgData name="Aurelien Domont" userId="6da7715ce44349b3" providerId="LiveId" clId="{2CD95218-941C-4820-B0D1-138B992882CB}" dt="2021-04-16T06:19:49.656" v="14" actId="47"/>
        <pc:sldMkLst>
          <pc:docMk/>
          <pc:sldMk cId="1480423294" sldId="2001"/>
        </pc:sldMkLst>
      </pc:sldChg>
      <pc:sldChg chg="del">
        <pc:chgData name="Aurelien Domont" userId="6da7715ce44349b3" providerId="LiveId" clId="{2CD95218-941C-4820-B0D1-138B992882CB}" dt="2021-04-16T06:19:49.656" v="14" actId="47"/>
        <pc:sldMkLst>
          <pc:docMk/>
          <pc:sldMk cId="793231726" sldId="2002"/>
        </pc:sldMkLst>
      </pc:sldChg>
      <pc:sldChg chg="del">
        <pc:chgData name="Aurelien Domont" userId="6da7715ce44349b3" providerId="LiveId" clId="{2CD95218-941C-4820-B0D1-138B992882CB}" dt="2021-04-16T06:19:49.656" v="14" actId="47"/>
        <pc:sldMkLst>
          <pc:docMk/>
          <pc:sldMk cId="3023691004" sldId="2003"/>
        </pc:sldMkLst>
      </pc:sldChg>
      <pc:sldChg chg="del">
        <pc:chgData name="Aurelien Domont" userId="6da7715ce44349b3" providerId="LiveId" clId="{2CD95218-941C-4820-B0D1-138B992882CB}" dt="2021-04-16T06:19:49.656" v="14" actId="47"/>
        <pc:sldMkLst>
          <pc:docMk/>
          <pc:sldMk cId="872643177" sldId="2004"/>
        </pc:sldMkLst>
      </pc:sldChg>
      <pc:sldChg chg="del">
        <pc:chgData name="Aurelien Domont" userId="6da7715ce44349b3" providerId="LiveId" clId="{2CD95218-941C-4820-B0D1-138B992882CB}" dt="2021-04-16T06:19:49.656" v="14" actId="47"/>
        <pc:sldMkLst>
          <pc:docMk/>
          <pc:sldMk cId="2349657917" sldId="2005"/>
        </pc:sldMkLst>
      </pc:sldChg>
      <pc:sldChg chg="del">
        <pc:chgData name="Aurelien Domont" userId="6da7715ce44349b3" providerId="LiveId" clId="{2CD95218-941C-4820-B0D1-138B992882CB}" dt="2021-04-16T06:19:49.656" v="14" actId="47"/>
        <pc:sldMkLst>
          <pc:docMk/>
          <pc:sldMk cId="1724454977" sldId="2006"/>
        </pc:sldMkLst>
      </pc:sldChg>
      <pc:sldChg chg="del">
        <pc:chgData name="Aurelien Domont" userId="6da7715ce44349b3" providerId="LiveId" clId="{2CD95218-941C-4820-B0D1-138B992882CB}" dt="2021-04-16T06:19:49.656" v="14" actId="47"/>
        <pc:sldMkLst>
          <pc:docMk/>
          <pc:sldMk cId="2694318807" sldId="2007"/>
        </pc:sldMkLst>
      </pc:sldChg>
      <pc:sldChg chg="del">
        <pc:chgData name="Aurelien Domont" userId="6da7715ce44349b3" providerId="LiveId" clId="{2CD95218-941C-4820-B0D1-138B992882CB}" dt="2021-04-16T06:19:49.656" v="14" actId="47"/>
        <pc:sldMkLst>
          <pc:docMk/>
          <pc:sldMk cId="3512896718" sldId="2008"/>
        </pc:sldMkLst>
      </pc:sldChg>
      <pc:sldChg chg="del">
        <pc:chgData name="Aurelien Domont" userId="6da7715ce44349b3" providerId="LiveId" clId="{2CD95218-941C-4820-B0D1-138B992882CB}" dt="2021-04-16T06:19:49.656" v="14" actId="47"/>
        <pc:sldMkLst>
          <pc:docMk/>
          <pc:sldMk cId="1332006057" sldId="2009"/>
        </pc:sldMkLst>
      </pc:sldChg>
      <pc:sldChg chg="del">
        <pc:chgData name="Aurelien Domont" userId="6da7715ce44349b3" providerId="LiveId" clId="{2CD95218-941C-4820-B0D1-138B992882CB}" dt="2021-04-16T06:19:49.656" v="14" actId="47"/>
        <pc:sldMkLst>
          <pc:docMk/>
          <pc:sldMk cId="3743231244" sldId="2010"/>
        </pc:sldMkLst>
      </pc:sldChg>
      <pc:sldChg chg="del">
        <pc:chgData name="Aurelien Domont" userId="6da7715ce44349b3" providerId="LiveId" clId="{2CD95218-941C-4820-B0D1-138B992882CB}" dt="2021-04-16T06:19:49.656" v="14" actId="47"/>
        <pc:sldMkLst>
          <pc:docMk/>
          <pc:sldMk cId="3270380878" sldId="2011"/>
        </pc:sldMkLst>
      </pc:sldChg>
      <pc:sldChg chg="del">
        <pc:chgData name="Aurelien Domont" userId="6da7715ce44349b3" providerId="LiveId" clId="{2CD95218-941C-4820-B0D1-138B992882CB}" dt="2021-04-16T06:19:49.656" v="14" actId="47"/>
        <pc:sldMkLst>
          <pc:docMk/>
          <pc:sldMk cId="3259832518" sldId="2012"/>
        </pc:sldMkLst>
      </pc:sldChg>
      <pc:sldChg chg="del">
        <pc:chgData name="Aurelien Domont" userId="6da7715ce44349b3" providerId="LiveId" clId="{2CD95218-941C-4820-B0D1-138B992882CB}" dt="2021-04-16T06:19:49.656" v="14" actId="47"/>
        <pc:sldMkLst>
          <pc:docMk/>
          <pc:sldMk cId="3359790508" sldId="2013"/>
        </pc:sldMkLst>
      </pc:sldChg>
      <pc:sldChg chg="del">
        <pc:chgData name="Aurelien Domont" userId="6da7715ce44349b3" providerId="LiveId" clId="{2CD95218-941C-4820-B0D1-138B992882CB}" dt="2021-04-16T06:19:49.656" v="14" actId="47"/>
        <pc:sldMkLst>
          <pc:docMk/>
          <pc:sldMk cId="2682380162" sldId="2014"/>
        </pc:sldMkLst>
      </pc:sldChg>
      <pc:sldChg chg="del">
        <pc:chgData name="Aurelien Domont" userId="6da7715ce44349b3" providerId="LiveId" clId="{2CD95218-941C-4820-B0D1-138B992882CB}" dt="2021-04-16T06:19:49.656" v="14" actId="47"/>
        <pc:sldMkLst>
          <pc:docMk/>
          <pc:sldMk cId="139116637" sldId="2015"/>
        </pc:sldMkLst>
      </pc:sldChg>
      <pc:sldChg chg="del">
        <pc:chgData name="Aurelien Domont" userId="6da7715ce44349b3" providerId="LiveId" clId="{2CD95218-941C-4820-B0D1-138B992882CB}" dt="2021-04-16T06:19:49.656" v="14" actId="47"/>
        <pc:sldMkLst>
          <pc:docMk/>
          <pc:sldMk cId="2058427270" sldId="2016"/>
        </pc:sldMkLst>
      </pc:sldChg>
      <pc:sldChg chg="del">
        <pc:chgData name="Aurelien Domont" userId="6da7715ce44349b3" providerId="LiveId" clId="{2CD95218-941C-4820-B0D1-138B992882CB}" dt="2021-04-16T06:19:49.656" v="14" actId="47"/>
        <pc:sldMkLst>
          <pc:docMk/>
          <pc:sldMk cId="2113500125" sldId="2017"/>
        </pc:sldMkLst>
      </pc:sldChg>
      <pc:sldChg chg="del">
        <pc:chgData name="Aurelien Domont" userId="6da7715ce44349b3" providerId="LiveId" clId="{2CD95218-941C-4820-B0D1-138B992882CB}" dt="2021-04-16T06:19:49.656" v="14" actId="47"/>
        <pc:sldMkLst>
          <pc:docMk/>
          <pc:sldMk cId="2044426822" sldId="2018"/>
        </pc:sldMkLst>
      </pc:sldChg>
      <pc:sldChg chg="del">
        <pc:chgData name="Aurelien Domont" userId="6da7715ce44349b3" providerId="LiveId" clId="{2CD95218-941C-4820-B0D1-138B992882CB}" dt="2021-04-16T06:19:49.656" v="14" actId="47"/>
        <pc:sldMkLst>
          <pc:docMk/>
          <pc:sldMk cId="2999380438" sldId="2019"/>
        </pc:sldMkLst>
      </pc:sldChg>
      <pc:sldChg chg="del">
        <pc:chgData name="Aurelien Domont" userId="6da7715ce44349b3" providerId="LiveId" clId="{2CD95218-941C-4820-B0D1-138B992882CB}" dt="2021-04-16T06:19:49.656" v="14" actId="47"/>
        <pc:sldMkLst>
          <pc:docMk/>
          <pc:sldMk cId="3561897072" sldId="2020"/>
        </pc:sldMkLst>
      </pc:sldChg>
      <pc:sldChg chg="del">
        <pc:chgData name="Aurelien Domont" userId="6da7715ce44349b3" providerId="LiveId" clId="{2CD95218-941C-4820-B0D1-138B992882CB}" dt="2021-04-16T06:19:49.656" v="14" actId="47"/>
        <pc:sldMkLst>
          <pc:docMk/>
          <pc:sldMk cId="3054282789" sldId="2021"/>
        </pc:sldMkLst>
      </pc:sldChg>
      <pc:sldChg chg="del">
        <pc:chgData name="Aurelien Domont" userId="6da7715ce44349b3" providerId="LiveId" clId="{2CD95218-941C-4820-B0D1-138B992882CB}" dt="2021-04-16T06:19:49.656" v="14" actId="47"/>
        <pc:sldMkLst>
          <pc:docMk/>
          <pc:sldMk cId="1952205493" sldId="2022"/>
        </pc:sldMkLst>
      </pc:sldChg>
      <pc:sldChg chg="del">
        <pc:chgData name="Aurelien Domont" userId="6da7715ce44349b3" providerId="LiveId" clId="{2CD95218-941C-4820-B0D1-138B992882CB}" dt="2021-04-16T06:19:49.656" v="14" actId="47"/>
        <pc:sldMkLst>
          <pc:docMk/>
          <pc:sldMk cId="1278311518" sldId="2023"/>
        </pc:sldMkLst>
      </pc:sldChg>
      <pc:sldChg chg="del">
        <pc:chgData name="Aurelien Domont" userId="6da7715ce44349b3" providerId="LiveId" clId="{2CD95218-941C-4820-B0D1-138B992882CB}" dt="2021-04-16T06:19:49.656" v="14" actId="47"/>
        <pc:sldMkLst>
          <pc:docMk/>
          <pc:sldMk cId="3268153581" sldId="2024"/>
        </pc:sldMkLst>
      </pc:sldChg>
      <pc:sldChg chg="del">
        <pc:chgData name="Aurelien Domont" userId="6da7715ce44349b3" providerId="LiveId" clId="{2CD95218-941C-4820-B0D1-138B992882CB}" dt="2021-04-16T06:19:49.656" v="14" actId="47"/>
        <pc:sldMkLst>
          <pc:docMk/>
          <pc:sldMk cId="2356573541" sldId="2025"/>
        </pc:sldMkLst>
      </pc:sldChg>
      <pc:sldChg chg="add">
        <pc:chgData name="Aurelien Domont" userId="6da7715ce44349b3" providerId="LiveId" clId="{2CD95218-941C-4820-B0D1-138B992882CB}" dt="2021-04-19T06:45:22.049" v="1192"/>
        <pc:sldMkLst>
          <pc:docMk/>
          <pc:sldMk cId="3028091984" sldId="2146"/>
        </pc:sldMkLst>
      </pc:sldChg>
      <pc:sldChg chg="add">
        <pc:chgData name="Aurelien Domont" userId="6da7715ce44349b3" providerId="LiveId" clId="{2CD95218-941C-4820-B0D1-138B992882CB}" dt="2021-04-19T06:45:22.049" v="1192"/>
        <pc:sldMkLst>
          <pc:docMk/>
          <pc:sldMk cId="705087090" sldId="2147"/>
        </pc:sldMkLst>
      </pc:sldChg>
      <pc:sldChg chg="addSp delSp modSp add mod">
        <pc:chgData name="Aurelien Domont" userId="6da7715ce44349b3" providerId="LiveId" clId="{2CD95218-941C-4820-B0D1-138B992882CB}" dt="2021-04-20T04:44:30.171" v="3989" actId="20577"/>
        <pc:sldMkLst>
          <pc:docMk/>
          <pc:sldMk cId="423301223" sldId="2148"/>
        </pc:sldMkLst>
        <pc:spChg chg="mod">
          <ac:chgData name="Aurelien Domont" userId="6da7715ce44349b3" providerId="LiveId" clId="{2CD95218-941C-4820-B0D1-138B992882CB}" dt="2021-04-20T04:44:30.171" v="3989" actId="20577"/>
          <ac:spMkLst>
            <pc:docMk/>
            <pc:sldMk cId="423301223" sldId="2148"/>
            <ac:spMk id="16" creationId="{6C2BB713-9637-4B9B-938F-E9768876782A}"/>
          </ac:spMkLst>
        </pc:spChg>
        <pc:spChg chg="del mod">
          <ac:chgData name="Aurelien Domont" userId="6da7715ce44349b3" providerId="LiveId" clId="{2CD95218-941C-4820-B0D1-138B992882CB}" dt="2021-04-20T04:39:57.734" v="3921" actId="478"/>
          <ac:spMkLst>
            <pc:docMk/>
            <pc:sldMk cId="423301223" sldId="2148"/>
            <ac:spMk id="24" creationId="{5262883E-429E-4FBD-BE90-9FFFC2CD6641}"/>
          </ac:spMkLst>
        </pc:spChg>
        <pc:graphicFrameChg chg="add mod modGraphic">
          <ac:chgData name="Aurelien Domont" userId="6da7715ce44349b3" providerId="LiveId" clId="{2CD95218-941C-4820-B0D1-138B992882CB}" dt="2021-04-20T04:41:06.445" v="3976"/>
          <ac:graphicFrameMkLst>
            <pc:docMk/>
            <pc:sldMk cId="423301223" sldId="2148"/>
            <ac:graphicFrameMk id="6" creationId="{5C5525D8-81F1-4A24-A0BB-F27EAE382C06}"/>
          </ac:graphicFrameMkLst>
        </pc:graphicFrameChg>
      </pc:sldChg>
      <pc:sldChg chg="add del">
        <pc:chgData name="Aurelien Domont" userId="6da7715ce44349b3" providerId="LiveId" clId="{2CD95218-941C-4820-B0D1-138B992882CB}" dt="2021-04-20T04:05:16.160" v="2787" actId="47"/>
        <pc:sldMkLst>
          <pc:docMk/>
          <pc:sldMk cId="1587869489" sldId="2149"/>
        </pc:sldMkLst>
      </pc:sldChg>
      <pc:sldChg chg="addSp delSp modSp add del mod">
        <pc:chgData name="Aurelien Domont" userId="6da7715ce44349b3" providerId="LiveId" clId="{2CD95218-941C-4820-B0D1-138B992882CB}" dt="2021-04-20T04:00:14.754" v="2741" actId="47"/>
        <pc:sldMkLst>
          <pc:docMk/>
          <pc:sldMk cId="3281813050" sldId="2150"/>
        </pc:sldMkLst>
        <pc:spChg chg="mod">
          <ac:chgData name="Aurelien Domont" userId="6da7715ce44349b3" providerId="LiveId" clId="{2CD95218-941C-4820-B0D1-138B992882CB}" dt="2021-04-20T03:54:25.309" v="2548" actId="20577"/>
          <ac:spMkLst>
            <pc:docMk/>
            <pc:sldMk cId="3281813050" sldId="2150"/>
            <ac:spMk id="6" creationId="{C3CDFF47-2BDF-481B-8C77-A2EE049FF74B}"/>
          </ac:spMkLst>
        </pc:spChg>
        <pc:spChg chg="del mod">
          <ac:chgData name="Aurelien Domont" userId="6da7715ce44349b3" providerId="LiveId" clId="{2CD95218-941C-4820-B0D1-138B992882CB}" dt="2021-04-20T03:58:22.691" v="2700" actId="478"/>
          <ac:spMkLst>
            <pc:docMk/>
            <pc:sldMk cId="3281813050" sldId="2150"/>
            <ac:spMk id="11" creationId="{CC20D042-C261-40FA-9AD5-C92E9BBE6615}"/>
          </ac:spMkLst>
        </pc:spChg>
        <pc:spChg chg="add del mod">
          <ac:chgData name="Aurelien Domont" userId="6da7715ce44349b3" providerId="LiveId" clId="{2CD95218-941C-4820-B0D1-138B992882CB}" dt="2021-04-20T03:58:22.691" v="2700" actId="478"/>
          <ac:spMkLst>
            <pc:docMk/>
            <pc:sldMk cId="3281813050" sldId="2150"/>
            <ac:spMk id="12" creationId="{9D0CD2E9-3F7C-4642-9314-A5A56FD65353}"/>
          </ac:spMkLst>
        </pc:spChg>
        <pc:spChg chg="add mod">
          <ac:chgData name="Aurelien Domont" userId="6da7715ce44349b3" providerId="LiveId" clId="{2CD95218-941C-4820-B0D1-138B992882CB}" dt="2021-04-20T03:58:44.875" v="2710" actId="1076"/>
          <ac:spMkLst>
            <pc:docMk/>
            <pc:sldMk cId="3281813050" sldId="2150"/>
            <ac:spMk id="17" creationId="{505328FD-CFA8-472C-AADB-77604AA9A196}"/>
          </ac:spMkLst>
        </pc:spChg>
        <pc:spChg chg="del mod">
          <ac:chgData name="Aurelien Domont" userId="6da7715ce44349b3" providerId="LiveId" clId="{2CD95218-941C-4820-B0D1-138B992882CB}" dt="2021-04-20T03:56:45.105" v="2599" actId="478"/>
          <ac:spMkLst>
            <pc:docMk/>
            <pc:sldMk cId="3281813050" sldId="2150"/>
            <ac:spMk id="20" creationId="{C59DF6C5-D4AC-4D27-B52A-E815DD763FD8}"/>
          </ac:spMkLst>
        </pc:spChg>
        <pc:spChg chg="del mod">
          <ac:chgData name="Aurelien Domont" userId="6da7715ce44349b3" providerId="LiveId" clId="{2CD95218-941C-4820-B0D1-138B992882CB}" dt="2021-04-20T03:58:22.691" v="2700" actId="478"/>
          <ac:spMkLst>
            <pc:docMk/>
            <pc:sldMk cId="3281813050" sldId="2150"/>
            <ac:spMk id="21" creationId="{F5002797-E4EA-45B8-B820-76ECE0702817}"/>
          </ac:spMkLst>
        </pc:spChg>
        <pc:picChg chg="add mod">
          <ac:chgData name="Aurelien Domont" userId="6da7715ce44349b3" providerId="LiveId" clId="{2CD95218-941C-4820-B0D1-138B992882CB}" dt="2021-04-20T03:58:27.797" v="2703" actId="1076"/>
          <ac:picMkLst>
            <pc:docMk/>
            <pc:sldMk cId="3281813050" sldId="2150"/>
            <ac:picMk id="3" creationId="{177C207C-E9C5-4F72-BD2F-D9590E622F5E}"/>
          </ac:picMkLst>
        </pc:picChg>
        <pc:picChg chg="add mod">
          <ac:chgData name="Aurelien Domont" userId="6da7715ce44349b3" providerId="LiveId" clId="{2CD95218-941C-4820-B0D1-138B992882CB}" dt="2021-04-20T03:58:24.067" v="2701" actId="1076"/>
          <ac:picMkLst>
            <pc:docMk/>
            <pc:sldMk cId="3281813050" sldId="2150"/>
            <ac:picMk id="5" creationId="{2364D466-67B2-4F3D-B207-44E6F410B178}"/>
          </ac:picMkLst>
        </pc:picChg>
        <pc:picChg chg="add mod">
          <ac:chgData name="Aurelien Domont" userId="6da7715ce44349b3" providerId="LiveId" clId="{2CD95218-941C-4820-B0D1-138B992882CB}" dt="2021-04-20T03:58:30.424" v="2704" actId="1076"/>
          <ac:picMkLst>
            <pc:docMk/>
            <pc:sldMk cId="3281813050" sldId="2150"/>
            <ac:picMk id="8" creationId="{7AE82408-0EBB-4A84-8485-6C50815A63F2}"/>
          </ac:picMkLst>
        </pc:picChg>
        <pc:picChg chg="add del mod">
          <ac:chgData name="Aurelien Domont" userId="6da7715ce44349b3" providerId="LiveId" clId="{2CD95218-941C-4820-B0D1-138B992882CB}" dt="2021-04-20T03:57:28.065" v="2657" actId="478"/>
          <ac:picMkLst>
            <pc:docMk/>
            <pc:sldMk cId="3281813050" sldId="2150"/>
            <ac:picMk id="10" creationId="{84E5174D-F42C-48A2-8DA6-7FDCB3C1BD3A}"/>
          </ac:picMkLst>
        </pc:picChg>
      </pc:sldChg>
      <pc:sldChg chg="add del">
        <pc:chgData name="Aurelien Domont" userId="6da7715ce44349b3" providerId="LiveId" clId="{2CD95218-941C-4820-B0D1-138B992882CB}" dt="2021-04-20T04:00:14.754" v="2741" actId="47"/>
        <pc:sldMkLst>
          <pc:docMk/>
          <pc:sldMk cId="1830766342" sldId="2151"/>
        </pc:sldMkLst>
      </pc:sldChg>
      <pc:sldChg chg="addSp delSp modSp add mod">
        <pc:chgData name="Aurelien Domont" userId="6da7715ce44349b3" providerId="LiveId" clId="{2CD95218-941C-4820-B0D1-138B992882CB}" dt="2021-04-20T04:36:51.428" v="3909" actId="465"/>
        <pc:sldMkLst>
          <pc:docMk/>
          <pc:sldMk cId="1324642353" sldId="2152"/>
        </pc:sldMkLst>
        <pc:spChg chg="mod">
          <ac:chgData name="Aurelien Domont" userId="6da7715ce44349b3" providerId="LiveId" clId="{2CD95218-941C-4820-B0D1-138B992882CB}" dt="2021-04-20T04:16:39.360" v="3236" actId="20577"/>
          <ac:spMkLst>
            <pc:docMk/>
            <pc:sldMk cId="1324642353" sldId="2152"/>
            <ac:spMk id="6" creationId="{C3CDFF47-2BDF-481B-8C77-A2EE049FF74B}"/>
          </ac:spMkLst>
        </pc:spChg>
        <pc:spChg chg="mod">
          <ac:chgData name="Aurelien Domont" userId="6da7715ce44349b3" providerId="LiveId" clId="{2CD95218-941C-4820-B0D1-138B992882CB}" dt="2021-04-20T04:36:49.579" v="3908" actId="465"/>
          <ac:spMkLst>
            <pc:docMk/>
            <pc:sldMk cId="1324642353" sldId="2152"/>
            <ac:spMk id="11" creationId="{CC20D042-C261-40FA-9AD5-C92E9BBE6615}"/>
          </ac:spMkLst>
        </pc:spChg>
        <pc:spChg chg="mod">
          <ac:chgData name="Aurelien Domont" userId="6da7715ce44349b3" providerId="LiveId" clId="{2CD95218-941C-4820-B0D1-138B992882CB}" dt="2021-04-20T04:36:49.579" v="3908" actId="465"/>
          <ac:spMkLst>
            <pc:docMk/>
            <pc:sldMk cId="1324642353" sldId="2152"/>
            <ac:spMk id="12" creationId="{9D0CD2E9-3F7C-4642-9314-A5A56FD65353}"/>
          </ac:spMkLst>
        </pc:spChg>
        <pc:spChg chg="add mod">
          <ac:chgData name="Aurelien Domont" userId="6da7715ce44349b3" providerId="LiveId" clId="{2CD95218-941C-4820-B0D1-138B992882CB}" dt="2021-04-20T04:16:54.111" v="3245" actId="20577"/>
          <ac:spMkLst>
            <pc:docMk/>
            <pc:sldMk cId="1324642353" sldId="2152"/>
            <ac:spMk id="14" creationId="{05C7ABA3-592D-494A-A845-ADFDA1E4756F}"/>
          </ac:spMkLst>
        </pc:spChg>
        <pc:spChg chg="mod">
          <ac:chgData name="Aurelien Domont" userId="6da7715ce44349b3" providerId="LiveId" clId="{2CD95218-941C-4820-B0D1-138B992882CB}" dt="2021-04-20T04:33:47.064" v="3889" actId="404"/>
          <ac:spMkLst>
            <pc:docMk/>
            <pc:sldMk cId="1324642353" sldId="2152"/>
            <ac:spMk id="16" creationId="{6C2BB713-9637-4B9B-938F-E9768876782A}"/>
          </ac:spMkLst>
        </pc:spChg>
        <pc:spChg chg="add mod">
          <ac:chgData name="Aurelien Domont" userId="6da7715ce44349b3" providerId="LiveId" clId="{2CD95218-941C-4820-B0D1-138B992882CB}" dt="2021-04-20T04:36:40.993" v="3907" actId="1036"/>
          <ac:spMkLst>
            <pc:docMk/>
            <pc:sldMk cId="1324642353" sldId="2152"/>
            <ac:spMk id="18" creationId="{6D0D68B1-9DCF-46E2-87CD-C0AFC2962BA3}"/>
          </ac:spMkLst>
        </pc:spChg>
        <pc:spChg chg="mod">
          <ac:chgData name="Aurelien Domont" userId="6da7715ce44349b3" providerId="LiveId" clId="{2CD95218-941C-4820-B0D1-138B992882CB}" dt="2021-04-20T04:36:49.579" v="3908" actId="465"/>
          <ac:spMkLst>
            <pc:docMk/>
            <pc:sldMk cId="1324642353" sldId="2152"/>
            <ac:spMk id="21" creationId="{F5002797-E4EA-45B8-B820-76ECE0702817}"/>
          </ac:spMkLst>
        </pc:spChg>
        <pc:picChg chg="mod">
          <ac:chgData name="Aurelien Domont" userId="6da7715ce44349b3" providerId="LiveId" clId="{2CD95218-941C-4820-B0D1-138B992882CB}" dt="2021-04-20T04:36:51.428" v="3909" actId="465"/>
          <ac:picMkLst>
            <pc:docMk/>
            <pc:sldMk cId="1324642353" sldId="2152"/>
            <ac:picMk id="3" creationId="{177C207C-E9C5-4F72-BD2F-D9590E622F5E}"/>
          </ac:picMkLst>
        </pc:picChg>
        <pc:picChg chg="add mod">
          <ac:chgData name="Aurelien Domont" userId="6da7715ce44349b3" providerId="LiveId" clId="{2CD95218-941C-4820-B0D1-138B992882CB}" dt="2021-04-20T04:07:39.882" v="2938" actId="207"/>
          <ac:picMkLst>
            <pc:docMk/>
            <pc:sldMk cId="1324642353" sldId="2152"/>
            <ac:picMk id="4" creationId="{8BFAD7E0-FAF3-4A7F-85D7-23D126159742}"/>
          </ac:picMkLst>
        </pc:picChg>
        <pc:picChg chg="mod">
          <ac:chgData name="Aurelien Domont" userId="6da7715ce44349b3" providerId="LiveId" clId="{2CD95218-941C-4820-B0D1-138B992882CB}" dt="2021-04-20T04:36:51.428" v="3909" actId="465"/>
          <ac:picMkLst>
            <pc:docMk/>
            <pc:sldMk cId="1324642353" sldId="2152"/>
            <ac:picMk id="5" creationId="{2364D466-67B2-4F3D-B207-44E6F410B178}"/>
          </ac:picMkLst>
        </pc:picChg>
        <pc:picChg chg="mod">
          <ac:chgData name="Aurelien Domont" userId="6da7715ce44349b3" providerId="LiveId" clId="{2CD95218-941C-4820-B0D1-138B992882CB}" dt="2021-04-20T04:36:51.428" v="3909" actId="465"/>
          <ac:picMkLst>
            <pc:docMk/>
            <pc:sldMk cId="1324642353" sldId="2152"/>
            <ac:picMk id="8" creationId="{7AE82408-0EBB-4A84-8485-6C50815A63F2}"/>
          </ac:picMkLst>
        </pc:picChg>
        <pc:picChg chg="add mod">
          <ac:chgData name="Aurelien Domont" userId="6da7715ce44349b3" providerId="LiveId" clId="{2CD95218-941C-4820-B0D1-138B992882CB}" dt="2021-04-20T04:36:40.993" v="3907" actId="1036"/>
          <ac:picMkLst>
            <pc:docMk/>
            <pc:sldMk cId="1324642353" sldId="2152"/>
            <ac:picMk id="9" creationId="{D861C705-A534-40EE-AF44-8BEF75E73C3A}"/>
          </ac:picMkLst>
        </pc:picChg>
        <pc:picChg chg="add del mod">
          <ac:chgData name="Aurelien Domont" userId="6da7715ce44349b3" providerId="LiveId" clId="{2CD95218-941C-4820-B0D1-138B992882CB}" dt="2021-04-20T04:07:26.776" v="2932" actId="478"/>
          <ac:picMkLst>
            <pc:docMk/>
            <pc:sldMk cId="1324642353" sldId="2152"/>
            <ac:picMk id="15" creationId="{49FA7E12-06DF-4BEA-89D5-3A0B088F7140}"/>
          </ac:picMkLst>
        </pc:picChg>
        <pc:picChg chg="add del mod">
          <ac:chgData name="Aurelien Domont" userId="6da7715ce44349b3" providerId="LiveId" clId="{2CD95218-941C-4820-B0D1-138B992882CB}" dt="2021-04-20T04:21:42.641" v="3378" actId="478"/>
          <ac:picMkLst>
            <pc:docMk/>
            <pc:sldMk cId="1324642353" sldId="2152"/>
            <ac:picMk id="17" creationId="{A9DDB489-8F00-4139-8C88-82482DD9CE04}"/>
          </ac:picMkLst>
        </pc:picChg>
      </pc:sldChg>
      <pc:sldChg chg="addSp delSp modSp add mod">
        <pc:chgData name="Aurelien Domont" userId="6da7715ce44349b3" providerId="LiveId" clId="{2CD95218-941C-4820-B0D1-138B992882CB}" dt="2021-04-20T04:46:00.228" v="4025" actId="20577"/>
        <pc:sldMkLst>
          <pc:docMk/>
          <pc:sldMk cId="2226532108" sldId="2153"/>
        </pc:sldMkLst>
        <pc:spChg chg="del mod">
          <ac:chgData name="Aurelien Domont" userId="6da7715ce44349b3" providerId="LiveId" clId="{2CD95218-941C-4820-B0D1-138B992882CB}" dt="2021-04-20T04:24:19.268" v="3501" actId="478"/>
          <ac:spMkLst>
            <pc:docMk/>
            <pc:sldMk cId="2226532108" sldId="2153"/>
            <ac:spMk id="6" creationId="{C3CDFF47-2BDF-481B-8C77-A2EE049FF74B}"/>
          </ac:spMkLst>
        </pc:spChg>
        <pc:spChg chg="del">
          <ac:chgData name="Aurelien Domont" userId="6da7715ce44349b3" providerId="LiveId" clId="{2CD95218-941C-4820-B0D1-138B992882CB}" dt="2021-04-20T04:25:31.360" v="3502" actId="478"/>
          <ac:spMkLst>
            <pc:docMk/>
            <pc:sldMk cId="2226532108" sldId="2153"/>
            <ac:spMk id="11" creationId="{CC20D042-C261-40FA-9AD5-C92E9BBE6615}"/>
          </ac:spMkLst>
        </pc:spChg>
        <pc:spChg chg="del">
          <ac:chgData name="Aurelien Domont" userId="6da7715ce44349b3" providerId="LiveId" clId="{2CD95218-941C-4820-B0D1-138B992882CB}" dt="2021-04-20T04:25:31.360" v="3502" actId="478"/>
          <ac:spMkLst>
            <pc:docMk/>
            <pc:sldMk cId="2226532108" sldId="2153"/>
            <ac:spMk id="12" creationId="{9D0CD2E9-3F7C-4642-9314-A5A56FD65353}"/>
          </ac:spMkLst>
        </pc:spChg>
        <pc:spChg chg="del">
          <ac:chgData name="Aurelien Domont" userId="6da7715ce44349b3" providerId="LiveId" clId="{2CD95218-941C-4820-B0D1-138B992882CB}" dt="2021-04-20T04:25:31.360" v="3502" actId="478"/>
          <ac:spMkLst>
            <pc:docMk/>
            <pc:sldMk cId="2226532108" sldId="2153"/>
            <ac:spMk id="14" creationId="{05C7ABA3-592D-494A-A845-ADFDA1E4756F}"/>
          </ac:spMkLst>
        </pc:spChg>
        <pc:spChg chg="add del mod">
          <ac:chgData name="Aurelien Domont" userId="6da7715ce44349b3" providerId="LiveId" clId="{2CD95218-941C-4820-B0D1-138B992882CB}" dt="2021-04-20T04:30:57.150" v="3877" actId="478"/>
          <ac:spMkLst>
            <pc:docMk/>
            <pc:sldMk cId="2226532108" sldId="2153"/>
            <ac:spMk id="15" creationId="{422C1AB2-75CA-4756-974B-AD20BFE89FA5}"/>
          </ac:spMkLst>
        </pc:spChg>
        <pc:spChg chg="mod">
          <ac:chgData name="Aurelien Domont" userId="6da7715ce44349b3" providerId="LiveId" clId="{2CD95218-941C-4820-B0D1-138B992882CB}" dt="2021-04-20T04:33:51.955" v="3890" actId="404"/>
          <ac:spMkLst>
            <pc:docMk/>
            <pc:sldMk cId="2226532108" sldId="2153"/>
            <ac:spMk id="16" creationId="{6C2BB713-9637-4B9B-938F-E9768876782A}"/>
          </ac:spMkLst>
        </pc:spChg>
        <pc:spChg chg="add del mod">
          <ac:chgData name="Aurelien Domont" userId="6da7715ce44349b3" providerId="LiveId" clId="{2CD95218-941C-4820-B0D1-138B992882CB}" dt="2021-04-20T04:30:57.150" v="3877" actId="478"/>
          <ac:spMkLst>
            <pc:docMk/>
            <pc:sldMk cId="2226532108" sldId="2153"/>
            <ac:spMk id="17" creationId="{30CE0B60-80F5-4732-8EB6-2AD2E3223225}"/>
          </ac:spMkLst>
        </pc:spChg>
        <pc:spChg chg="del">
          <ac:chgData name="Aurelien Domont" userId="6da7715ce44349b3" providerId="LiveId" clId="{2CD95218-941C-4820-B0D1-138B992882CB}" dt="2021-04-20T04:25:31.360" v="3502" actId="478"/>
          <ac:spMkLst>
            <pc:docMk/>
            <pc:sldMk cId="2226532108" sldId="2153"/>
            <ac:spMk id="18" creationId="{6D0D68B1-9DCF-46E2-87CD-C0AFC2962BA3}"/>
          </ac:spMkLst>
        </pc:spChg>
        <pc:spChg chg="add del mod">
          <ac:chgData name="Aurelien Domont" userId="6da7715ce44349b3" providerId="LiveId" clId="{2CD95218-941C-4820-B0D1-138B992882CB}" dt="2021-04-20T04:30:57.150" v="3877" actId="478"/>
          <ac:spMkLst>
            <pc:docMk/>
            <pc:sldMk cId="2226532108" sldId="2153"/>
            <ac:spMk id="19" creationId="{15EC1948-275D-44C0-9458-86FA3C6844E3}"/>
          </ac:spMkLst>
        </pc:spChg>
        <pc:spChg chg="add del mod">
          <ac:chgData name="Aurelien Domont" userId="6da7715ce44349b3" providerId="LiveId" clId="{2CD95218-941C-4820-B0D1-138B992882CB}" dt="2021-04-20T04:30:57.150" v="3877" actId="478"/>
          <ac:spMkLst>
            <pc:docMk/>
            <pc:sldMk cId="2226532108" sldId="2153"/>
            <ac:spMk id="20" creationId="{6B354AFB-F308-4228-B349-2D1DC84AF21E}"/>
          </ac:spMkLst>
        </pc:spChg>
        <pc:spChg chg="del">
          <ac:chgData name="Aurelien Domont" userId="6da7715ce44349b3" providerId="LiveId" clId="{2CD95218-941C-4820-B0D1-138B992882CB}" dt="2021-04-20T04:25:31.360" v="3502" actId="478"/>
          <ac:spMkLst>
            <pc:docMk/>
            <pc:sldMk cId="2226532108" sldId="2153"/>
            <ac:spMk id="21" creationId="{F5002797-E4EA-45B8-B820-76ECE0702817}"/>
          </ac:spMkLst>
        </pc:spChg>
        <pc:spChg chg="add del mod">
          <ac:chgData name="Aurelien Domont" userId="6da7715ce44349b3" providerId="LiveId" clId="{2CD95218-941C-4820-B0D1-138B992882CB}" dt="2021-04-20T04:30:57.150" v="3877" actId="478"/>
          <ac:spMkLst>
            <pc:docMk/>
            <pc:sldMk cId="2226532108" sldId="2153"/>
            <ac:spMk id="22" creationId="{8A683522-7E38-42A9-A7E9-240B1B8A0D40}"/>
          </ac:spMkLst>
        </pc:spChg>
        <pc:spChg chg="add del mod">
          <ac:chgData name="Aurelien Domont" userId="6da7715ce44349b3" providerId="LiveId" clId="{2CD95218-941C-4820-B0D1-138B992882CB}" dt="2021-04-20T04:30:57.150" v="3877" actId="478"/>
          <ac:spMkLst>
            <pc:docMk/>
            <pc:sldMk cId="2226532108" sldId="2153"/>
            <ac:spMk id="23" creationId="{CFACD79E-375A-4F8A-B735-7AF6F91E3AEB}"/>
          </ac:spMkLst>
        </pc:spChg>
        <pc:spChg chg="add del mod">
          <ac:chgData name="Aurelien Domont" userId="6da7715ce44349b3" providerId="LiveId" clId="{2CD95218-941C-4820-B0D1-138B992882CB}" dt="2021-04-20T04:30:57.150" v="3877" actId="478"/>
          <ac:spMkLst>
            <pc:docMk/>
            <pc:sldMk cId="2226532108" sldId="2153"/>
            <ac:spMk id="24" creationId="{76B1B5F6-0986-4414-A673-3D68DA83068E}"/>
          </ac:spMkLst>
        </pc:spChg>
        <pc:spChg chg="add del mod">
          <ac:chgData name="Aurelien Domont" userId="6da7715ce44349b3" providerId="LiveId" clId="{2CD95218-941C-4820-B0D1-138B992882CB}" dt="2021-04-20T04:30:57.150" v="3877" actId="478"/>
          <ac:spMkLst>
            <pc:docMk/>
            <pc:sldMk cId="2226532108" sldId="2153"/>
            <ac:spMk id="25" creationId="{63044252-1ED7-4418-8DD7-5BCA46E9545D}"/>
          </ac:spMkLst>
        </pc:spChg>
        <pc:spChg chg="add del mod">
          <ac:chgData name="Aurelien Domont" userId="6da7715ce44349b3" providerId="LiveId" clId="{2CD95218-941C-4820-B0D1-138B992882CB}" dt="2021-04-20T04:30:57.150" v="3877" actId="478"/>
          <ac:spMkLst>
            <pc:docMk/>
            <pc:sldMk cId="2226532108" sldId="2153"/>
            <ac:spMk id="26" creationId="{A43EE86A-4A47-401D-923C-456BC355B8DA}"/>
          </ac:spMkLst>
        </pc:spChg>
        <pc:spChg chg="add mod">
          <ac:chgData name="Aurelien Domont" userId="6da7715ce44349b3" providerId="LiveId" clId="{2CD95218-941C-4820-B0D1-138B992882CB}" dt="2021-04-20T04:30:59.897" v="3878"/>
          <ac:spMkLst>
            <pc:docMk/>
            <pc:sldMk cId="2226532108" sldId="2153"/>
            <ac:spMk id="27" creationId="{BE87449D-3234-4567-915F-980F05B8A3E1}"/>
          </ac:spMkLst>
        </pc:spChg>
        <pc:spChg chg="add mod">
          <ac:chgData name="Aurelien Domont" userId="6da7715ce44349b3" providerId="LiveId" clId="{2CD95218-941C-4820-B0D1-138B992882CB}" dt="2021-04-20T04:30:59.897" v="3878"/>
          <ac:spMkLst>
            <pc:docMk/>
            <pc:sldMk cId="2226532108" sldId="2153"/>
            <ac:spMk id="28" creationId="{B0214802-ABDE-4F5B-AC18-9EE0C5AED73D}"/>
          </ac:spMkLst>
        </pc:spChg>
        <pc:spChg chg="add mod">
          <ac:chgData name="Aurelien Domont" userId="6da7715ce44349b3" providerId="LiveId" clId="{2CD95218-941C-4820-B0D1-138B992882CB}" dt="2021-04-20T04:31:12.660" v="3884"/>
          <ac:spMkLst>
            <pc:docMk/>
            <pc:sldMk cId="2226532108" sldId="2153"/>
            <ac:spMk id="29" creationId="{04EE0F4B-C5FD-48E2-B995-42C0C5E3FF95}"/>
          </ac:spMkLst>
        </pc:spChg>
        <pc:spChg chg="add mod">
          <ac:chgData name="Aurelien Domont" userId="6da7715ce44349b3" providerId="LiveId" clId="{2CD95218-941C-4820-B0D1-138B992882CB}" dt="2021-04-20T04:30:59.897" v="3878"/>
          <ac:spMkLst>
            <pc:docMk/>
            <pc:sldMk cId="2226532108" sldId="2153"/>
            <ac:spMk id="30" creationId="{AB276962-2016-4C64-9B58-D5EFA8B098DB}"/>
          </ac:spMkLst>
        </pc:spChg>
        <pc:spChg chg="add mod">
          <ac:chgData name="Aurelien Domont" userId="6da7715ce44349b3" providerId="LiveId" clId="{2CD95218-941C-4820-B0D1-138B992882CB}" dt="2021-04-20T04:30:59.897" v="3878"/>
          <ac:spMkLst>
            <pc:docMk/>
            <pc:sldMk cId="2226532108" sldId="2153"/>
            <ac:spMk id="31" creationId="{32E441B9-647C-44E2-ABF7-8C700B50EB40}"/>
          </ac:spMkLst>
        </pc:spChg>
        <pc:spChg chg="add mod">
          <ac:chgData name="Aurelien Domont" userId="6da7715ce44349b3" providerId="LiveId" clId="{2CD95218-941C-4820-B0D1-138B992882CB}" dt="2021-04-20T04:30:59.897" v="3878"/>
          <ac:spMkLst>
            <pc:docMk/>
            <pc:sldMk cId="2226532108" sldId="2153"/>
            <ac:spMk id="32" creationId="{AA876D5D-3C5F-496A-A2A3-C7CECF06BF89}"/>
          </ac:spMkLst>
        </pc:spChg>
        <pc:spChg chg="add mod">
          <ac:chgData name="Aurelien Domont" userId="6da7715ce44349b3" providerId="LiveId" clId="{2CD95218-941C-4820-B0D1-138B992882CB}" dt="2021-04-20T04:31:20.681" v="3885"/>
          <ac:spMkLst>
            <pc:docMk/>
            <pc:sldMk cId="2226532108" sldId="2153"/>
            <ac:spMk id="33" creationId="{A7501CC5-3F4A-44E0-B2B8-6ED55A47C121}"/>
          </ac:spMkLst>
        </pc:spChg>
        <pc:spChg chg="add mod">
          <ac:chgData name="Aurelien Domont" userId="6da7715ce44349b3" providerId="LiveId" clId="{2CD95218-941C-4820-B0D1-138B992882CB}" dt="2021-04-20T04:30:59.897" v="3878"/>
          <ac:spMkLst>
            <pc:docMk/>
            <pc:sldMk cId="2226532108" sldId="2153"/>
            <ac:spMk id="34" creationId="{6B4D7915-5BA7-4C17-B2F1-780DF97B5174}"/>
          </ac:spMkLst>
        </pc:spChg>
        <pc:spChg chg="add mod">
          <ac:chgData name="Aurelien Domont" userId="6da7715ce44349b3" providerId="LiveId" clId="{2CD95218-941C-4820-B0D1-138B992882CB}" dt="2021-04-20T04:30:59.897" v="3878"/>
          <ac:spMkLst>
            <pc:docMk/>
            <pc:sldMk cId="2226532108" sldId="2153"/>
            <ac:spMk id="35" creationId="{EE299828-482C-40C5-9D51-A83AB6184A67}"/>
          </ac:spMkLst>
        </pc:spChg>
        <pc:spChg chg="add mod">
          <ac:chgData name="Aurelien Domont" userId="6da7715ce44349b3" providerId="LiveId" clId="{2CD95218-941C-4820-B0D1-138B992882CB}" dt="2021-04-20T04:30:59.897" v="3878"/>
          <ac:spMkLst>
            <pc:docMk/>
            <pc:sldMk cId="2226532108" sldId="2153"/>
            <ac:spMk id="36" creationId="{91C98F09-57BA-4745-8C0B-CE5B55E3EC2E}"/>
          </ac:spMkLst>
        </pc:spChg>
        <pc:spChg chg="add mod">
          <ac:chgData name="Aurelien Domont" userId="6da7715ce44349b3" providerId="LiveId" clId="{2CD95218-941C-4820-B0D1-138B992882CB}" dt="2021-04-20T04:46:00.228" v="4025" actId="20577"/>
          <ac:spMkLst>
            <pc:docMk/>
            <pc:sldMk cId="2226532108" sldId="2153"/>
            <ac:spMk id="37" creationId="{22049F5D-80E0-4952-8C95-093181A7EF1C}"/>
          </ac:spMkLst>
        </pc:spChg>
        <pc:spChg chg="add mod">
          <ac:chgData name="Aurelien Domont" userId="6da7715ce44349b3" providerId="LiveId" clId="{2CD95218-941C-4820-B0D1-138B992882CB}" dt="2021-04-20T04:30:59.897" v="3878"/>
          <ac:spMkLst>
            <pc:docMk/>
            <pc:sldMk cId="2226532108" sldId="2153"/>
            <ac:spMk id="38" creationId="{712FE8DE-44E0-4055-9561-4D639B2173A8}"/>
          </ac:spMkLst>
        </pc:spChg>
        <pc:picChg chg="del">
          <ac:chgData name="Aurelien Domont" userId="6da7715ce44349b3" providerId="LiveId" clId="{2CD95218-941C-4820-B0D1-138B992882CB}" dt="2021-04-20T04:25:31.360" v="3502" actId="478"/>
          <ac:picMkLst>
            <pc:docMk/>
            <pc:sldMk cId="2226532108" sldId="2153"/>
            <ac:picMk id="3" creationId="{177C207C-E9C5-4F72-BD2F-D9590E622F5E}"/>
          </ac:picMkLst>
        </pc:picChg>
        <pc:picChg chg="del">
          <ac:chgData name="Aurelien Domont" userId="6da7715ce44349b3" providerId="LiveId" clId="{2CD95218-941C-4820-B0D1-138B992882CB}" dt="2021-04-20T04:25:31.360" v="3502" actId="478"/>
          <ac:picMkLst>
            <pc:docMk/>
            <pc:sldMk cId="2226532108" sldId="2153"/>
            <ac:picMk id="4" creationId="{8BFAD7E0-FAF3-4A7F-85D7-23D126159742}"/>
          </ac:picMkLst>
        </pc:picChg>
        <pc:picChg chg="del">
          <ac:chgData name="Aurelien Domont" userId="6da7715ce44349b3" providerId="LiveId" clId="{2CD95218-941C-4820-B0D1-138B992882CB}" dt="2021-04-20T04:25:31.360" v="3502" actId="478"/>
          <ac:picMkLst>
            <pc:docMk/>
            <pc:sldMk cId="2226532108" sldId="2153"/>
            <ac:picMk id="5" creationId="{2364D466-67B2-4F3D-B207-44E6F410B178}"/>
          </ac:picMkLst>
        </pc:picChg>
        <pc:picChg chg="del">
          <ac:chgData name="Aurelien Domont" userId="6da7715ce44349b3" providerId="LiveId" clId="{2CD95218-941C-4820-B0D1-138B992882CB}" dt="2021-04-20T04:25:31.360" v="3502" actId="478"/>
          <ac:picMkLst>
            <pc:docMk/>
            <pc:sldMk cId="2226532108" sldId="2153"/>
            <ac:picMk id="8" creationId="{7AE82408-0EBB-4A84-8485-6C50815A63F2}"/>
          </ac:picMkLst>
        </pc:picChg>
        <pc:picChg chg="del">
          <ac:chgData name="Aurelien Domont" userId="6da7715ce44349b3" providerId="LiveId" clId="{2CD95218-941C-4820-B0D1-138B992882CB}" dt="2021-04-20T04:25:31.360" v="3502" actId="478"/>
          <ac:picMkLst>
            <pc:docMk/>
            <pc:sldMk cId="2226532108" sldId="2153"/>
            <ac:picMk id="9" creationId="{D861C705-A534-40EE-AF44-8BEF75E73C3A}"/>
          </ac:picMkLst>
        </pc:picChg>
      </pc:sldChg>
      <pc:sldChg chg="add del">
        <pc:chgData name="Aurelien Domont" userId="6da7715ce44349b3" providerId="LiveId" clId="{2CD95218-941C-4820-B0D1-138B992882CB}" dt="2021-04-20T04:22:44.391" v="3387" actId="47"/>
        <pc:sldMkLst>
          <pc:docMk/>
          <pc:sldMk cId="3370048552" sldId="2153"/>
        </pc:sldMkLst>
      </pc:sldChg>
      <pc:sldChg chg="add del">
        <pc:chgData name="Aurelien Domont" userId="6da7715ce44349b3" providerId="LiveId" clId="{2CD95218-941C-4820-B0D1-138B992882CB}" dt="2021-04-20T04:32:38.817" v="3887" actId="47"/>
        <pc:sldMkLst>
          <pc:docMk/>
          <pc:sldMk cId="2392205568" sldId="2154"/>
        </pc:sldMkLst>
      </pc:sldChg>
      <pc:sldChg chg="modSp add mod">
        <pc:chgData name="Aurelien Domont" userId="6da7715ce44349b3" providerId="LiveId" clId="{2CD95218-941C-4820-B0D1-138B992882CB}" dt="2021-04-20T04:44:37.466" v="3992" actId="20577"/>
        <pc:sldMkLst>
          <pc:docMk/>
          <pc:sldMk cId="3613236081" sldId="2154"/>
        </pc:sldMkLst>
        <pc:spChg chg="mod">
          <ac:chgData name="Aurelien Domont" userId="6da7715ce44349b3" providerId="LiveId" clId="{2CD95218-941C-4820-B0D1-138B992882CB}" dt="2021-04-20T04:44:37.466" v="3992" actId="20577"/>
          <ac:spMkLst>
            <pc:docMk/>
            <pc:sldMk cId="3613236081" sldId="2154"/>
            <ac:spMk id="16" creationId="{6C2BB713-9637-4B9B-938F-E9768876782A}"/>
          </ac:spMkLst>
        </pc:spChg>
      </pc:sldChg>
    </pc:docChg>
  </pc:docChgLst>
  <pc:docChgLst>
    <pc:chgData name="Aurelien Domont" userId="6da7715ce44349b3" providerId="LiveId" clId="{E254F929-AFDE-4E24-ABE8-9EC71FDECF33}"/>
    <pc:docChg chg="addSld modSld">
      <pc:chgData name="Aurelien Domont" userId="6da7715ce44349b3" providerId="LiveId" clId="{E254F929-AFDE-4E24-ABE8-9EC71FDECF33}" dt="2023-10-05T03:07:52.725" v="142" actId="113"/>
      <pc:docMkLst>
        <pc:docMk/>
      </pc:docMkLst>
      <pc:sldChg chg="modSp mod">
        <pc:chgData name="Aurelien Domont" userId="6da7715ce44349b3" providerId="LiveId" clId="{E254F929-AFDE-4E24-ABE8-9EC71FDECF33}" dt="2023-10-05T03:03:45.047" v="45" actId="20577"/>
        <pc:sldMkLst>
          <pc:docMk/>
          <pc:sldMk cId="471658671" sldId="1930"/>
        </pc:sldMkLst>
        <pc:spChg chg="mod">
          <ac:chgData name="Aurelien Domont" userId="6da7715ce44349b3" providerId="LiveId" clId="{E254F929-AFDE-4E24-ABE8-9EC71FDECF33}" dt="2023-10-05T03:03:45.047" v="45" actId="20577"/>
          <ac:spMkLst>
            <pc:docMk/>
            <pc:sldMk cId="471658671" sldId="1930"/>
            <ac:spMk id="16" creationId="{6C2BB713-9637-4B9B-938F-E9768876782A}"/>
          </ac:spMkLst>
        </pc:spChg>
      </pc:sldChg>
      <pc:sldChg chg="modSp mod">
        <pc:chgData name="Aurelien Domont" userId="6da7715ce44349b3" providerId="LiveId" clId="{E254F929-AFDE-4E24-ABE8-9EC71FDECF33}" dt="2023-10-05T03:03:06.924" v="22" actId="20577"/>
        <pc:sldMkLst>
          <pc:docMk/>
          <pc:sldMk cId="1324642353" sldId="2152"/>
        </pc:sldMkLst>
        <pc:spChg chg="mod">
          <ac:chgData name="Aurelien Domont" userId="6da7715ce44349b3" providerId="LiveId" clId="{E254F929-AFDE-4E24-ABE8-9EC71FDECF33}" dt="2023-10-05T03:03:06.924" v="22" actId="20577"/>
          <ac:spMkLst>
            <pc:docMk/>
            <pc:sldMk cId="1324642353" sldId="2152"/>
            <ac:spMk id="30" creationId="{4158D8A0-8667-2045-4AC4-160A464681E6}"/>
          </ac:spMkLst>
        </pc:spChg>
        <pc:spChg chg="mod">
          <ac:chgData name="Aurelien Domont" userId="6da7715ce44349b3" providerId="LiveId" clId="{E254F929-AFDE-4E24-ABE8-9EC71FDECF33}" dt="2023-10-05T03:02:49.582" v="15" actId="20577"/>
          <ac:spMkLst>
            <pc:docMk/>
            <pc:sldMk cId="1324642353" sldId="2152"/>
            <ac:spMk id="35" creationId="{773D4FBF-B598-55A4-F2C0-36C77927A4FE}"/>
          </ac:spMkLst>
        </pc:spChg>
      </pc:sldChg>
      <pc:sldChg chg="modSp mod">
        <pc:chgData name="Aurelien Domont" userId="6da7715ce44349b3" providerId="LiveId" clId="{E254F929-AFDE-4E24-ABE8-9EC71FDECF33}" dt="2023-10-05T03:03:35.356" v="37" actId="1037"/>
        <pc:sldMkLst>
          <pc:docMk/>
          <pc:sldMk cId="3219583305" sldId="2493"/>
        </pc:sldMkLst>
        <pc:spChg chg="mod">
          <ac:chgData name="Aurelien Domont" userId="6da7715ce44349b3" providerId="LiveId" clId="{E254F929-AFDE-4E24-ABE8-9EC71FDECF33}" dt="2023-10-05T03:03:35.356" v="37" actId="1037"/>
          <ac:spMkLst>
            <pc:docMk/>
            <pc:sldMk cId="3219583305" sldId="2493"/>
            <ac:spMk id="8" creationId="{8CD469F2-05B7-9EFB-9DF2-D76358D27FDC}"/>
          </ac:spMkLst>
        </pc:spChg>
        <pc:spChg chg="mod">
          <ac:chgData name="Aurelien Domont" userId="6da7715ce44349b3" providerId="LiveId" clId="{E254F929-AFDE-4E24-ABE8-9EC71FDECF33}" dt="2023-10-05T03:03:19.859" v="29" actId="20577"/>
          <ac:spMkLst>
            <pc:docMk/>
            <pc:sldMk cId="3219583305" sldId="2493"/>
            <ac:spMk id="16" creationId="{6C2BB713-9637-4B9B-938F-E9768876782A}"/>
          </ac:spMkLst>
        </pc:spChg>
      </pc:sldChg>
      <pc:sldChg chg="addSp modSp add mod">
        <pc:chgData name="Aurelien Domont" userId="6da7715ce44349b3" providerId="LiveId" clId="{E254F929-AFDE-4E24-ABE8-9EC71FDECF33}" dt="2023-10-05T03:07:52.725" v="142" actId="113"/>
        <pc:sldMkLst>
          <pc:docMk/>
          <pc:sldMk cId="1670619680" sldId="2494"/>
        </pc:sldMkLst>
        <pc:spChg chg="add mod">
          <ac:chgData name="Aurelien Domont" userId="6da7715ce44349b3" providerId="LiveId" clId="{E254F929-AFDE-4E24-ABE8-9EC71FDECF33}" dt="2023-10-05T03:07:52.725" v="142" actId="113"/>
          <ac:spMkLst>
            <pc:docMk/>
            <pc:sldMk cId="1670619680" sldId="2494"/>
            <ac:spMk id="12" creationId="{F2468098-A5B4-99E3-D27D-DA67BC34304E}"/>
          </ac:spMkLst>
        </pc:spChg>
      </pc:sldChg>
    </pc:docChg>
  </pc:docChgLst>
  <pc:docChgLst>
    <pc:chgData name="Aurelien Domont" userId="6da7715ce44349b3" providerId="LiveId" clId="{EB96D462-0798-4F2A-A2A8-8BDE27500008}"/>
    <pc:docChg chg="undo redo custSel addSld delSld modSld">
      <pc:chgData name="Aurelien Domont" userId="6da7715ce44349b3" providerId="LiveId" clId="{EB96D462-0798-4F2A-A2A8-8BDE27500008}" dt="2023-10-05T02:54:29.363" v="1414" actId="113"/>
      <pc:docMkLst>
        <pc:docMk/>
      </pc:docMkLst>
      <pc:sldChg chg="addSp delSp modSp del mod">
        <pc:chgData name="Aurelien Domont" userId="6da7715ce44349b3" providerId="LiveId" clId="{EB96D462-0798-4F2A-A2A8-8BDE27500008}" dt="2023-09-27T02:45:43.981" v="44" actId="47"/>
        <pc:sldMkLst>
          <pc:docMk/>
          <pc:sldMk cId="3131901387" sldId="256"/>
        </pc:sldMkLst>
        <pc:picChg chg="add mod">
          <ac:chgData name="Aurelien Domont" userId="6da7715ce44349b3" providerId="LiveId" clId="{EB96D462-0798-4F2A-A2A8-8BDE27500008}" dt="2023-01-12T04:01:27.824" v="4" actId="1076"/>
          <ac:picMkLst>
            <pc:docMk/>
            <pc:sldMk cId="3131901387" sldId="256"/>
            <ac:picMk id="4" creationId="{24376D32-A0C6-0DBB-3D77-413C6E7496A7}"/>
          </ac:picMkLst>
        </pc:picChg>
        <pc:picChg chg="del">
          <ac:chgData name="Aurelien Domont" userId="6da7715ce44349b3" providerId="LiveId" clId="{EB96D462-0798-4F2A-A2A8-8BDE27500008}" dt="2023-01-12T04:01:24.305" v="2" actId="478"/>
          <ac:picMkLst>
            <pc:docMk/>
            <pc:sldMk cId="3131901387" sldId="256"/>
            <ac:picMk id="7" creationId="{56F6D9FE-2BD8-43FA-8517-544E7B92AA1A}"/>
          </ac:picMkLst>
        </pc:picChg>
      </pc:sldChg>
      <pc:sldChg chg="addSp delSp modSp mod">
        <pc:chgData name="Aurelien Domont" userId="6da7715ce44349b3" providerId="LiveId" clId="{EB96D462-0798-4F2A-A2A8-8BDE27500008}" dt="2023-01-12T03:57:38.186" v="1"/>
        <pc:sldMkLst>
          <pc:docMk/>
          <pc:sldMk cId="2853806433" sldId="1600"/>
        </pc:sldMkLst>
        <pc:spChg chg="add mod">
          <ac:chgData name="Aurelien Domont" userId="6da7715ce44349b3" providerId="LiveId" clId="{EB96D462-0798-4F2A-A2A8-8BDE27500008}" dt="2023-01-12T03:57:38.186" v="1"/>
          <ac:spMkLst>
            <pc:docMk/>
            <pc:sldMk cId="2853806433" sldId="1600"/>
            <ac:spMk id="3" creationId="{6F4EE5F8-9590-D51A-8C97-146730CFCC30}"/>
          </ac:spMkLst>
        </pc:spChg>
        <pc:spChg chg="del">
          <ac:chgData name="Aurelien Domont" userId="6da7715ce44349b3" providerId="LiveId" clId="{EB96D462-0798-4F2A-A2A8-8BDE27500008}" dt="2023-01-12T03:57:37.923" v="0" actId="478"/>
          <ac:spMkLst>
            <pc:docMk/>
            <pc:sldMk cId="2853806433" sldId="1600"/>
            <ac:spMk id="5" creationId="{FF157264-E35D-4C02-921F-0940E6F2CA43}"/>
          </ac:spMkLst>
        </pc:spChg>
        <pc:picChg chg="del">
          <ac:chgData name="Aurelien Domont" userId="6da7715ce44349b3" providerId="LiveId" clId="{EB96D462-0798-4F2A-A2A8-8BDE27500008}" dt="2023-01-12T03:57:37.923" v="0" actId="478"/>
          <ac:picMkLst>
            <pc:docMk/>
            <pc:sldMk cId="2853806433" sldId="1600"/>
            <ac:picMk id="4" creationId="{9C5DE39E-F383-449D-AC9E-CE43548C4242}"/>
          </ac:picMkLst>
        </pc:picChg>
        <pc:picChg chg="add mod">
          <ac:chgData name="Aurelien Domont" userId="6da7715ce44349b3" providerId="LiveId" clId="{EB96D462-0798-4F2A-A2A8-8BDE27500008}" dt="2023-01-12T03:57:38.186" v="1"/>
          <ac:picMkLst>
            <pc:docMk/>
            <pc:sldMk cId="2853806433" sldId="1600"/>
            <ac:picMk id="9" creationId="{D9C21A8C-96E2-B1DF-A2F0-ED0AD962D04F}"/>
          </ac:picMkLst>
        </pc:picChg>
      </pc:sldChg>
      <pc:sldChg chg="addSp delSp modSp del mod">
        <pc:chgData name="Aurelien Domont" userId="6da7715ce44349b3" providerId="LiveId" clId="{EB96D462-0798-4F2A-A2A8-8BDE27500008}" dt="2023-10-04T03:10:38.813" v="692" actId="47"/>
        <pc:sldMkLst>
          <pc:docMk/>
          <pc:sldMk cId="1675062303" sldId="1929"/>
        </pc:sldMkLst>
        <pc:spChg chg="add mod">
          <ac:chgData name="Aurelien Domont" userId="6da7715ce44349b3" providerId="LiveId" clId="{EB96D462-0798-4F2A-A2A8-8BDE27500008}" dt="2023-10-04T03:00:30.944" v="385"/>
          <ac:spMkLst>
            <pc:docMk/>
            <pc:sldMk cId="1675062303" sldId="1929"/>
            <ac:spMk id="2" creationId="{AAA2B60C-A8E8-C9C2-B4C9-7AADE0F72F00}"/>
          </ac:spMkLst>
        </pc:spChg>
        <pc:spChg chg="add mod">
          <ac:chgData name="Aurelien Domont" userId="6da7715ce44349b3" providerId="LiveId" clId="{EB96D462-0798-4F2A-A2A8-8BDE27500008}" dt="2023-10-04T03:00:30.944" v="385"/>
          <ac:spMkLst>
            <pc:docMk/>
            <pc:sldMk cId="1675062303" sldId="1929"/>
            <ac:spMk id="4" creationId="{9BE3A7CF-047C-237A-2866-EAD83447E312}"/>
          </ac:spMkLst>
        </pc:spChg>
        <pc:spChg chg="add mod">
          <ac:chgData name="Aurelien Domont" userId="6da7715ce44349b3" providerId="LiveId" clId="{EB96D462-0798-4F2A-A2A8-8BDE27500008}" dt="2023-10-04T03:00:30.944" v="385"/>
          <ac:spMkLst>
            <pc:docMk/>
            <pc:sldMk cId="1675062303" sldId="1929"/>
            <ac:spMk id="5" creationId="{A107A082-33B7-14E5-3905-D72CC0C1B7C7}"/>
          </ac:spMkLst>
        </pc:spChg>
        <pc:spChg chg="mod">
          <ac:chgData name="Aurelien Domont" userId="6da7715ce44349b3" providerId="LiveId" clId="{EB96D462-0798-4F2A-A2A8-8BDE27500008}" dt="2023-10-04T03:02:48.398" v="432" actId="14100"/>
          <ac:spMkLst>
            <pc:docMk/>
            <pc:sldMk cId="1675062303" sldId="1929"/>
            <ac:spMk id="6" creationId="{DEB285D0-8F6C-4E31-8EF4-24D043585532}"/>
          </ac:spMkLst>
        </pc:spChg>
        <pc:spChg chg="mod">
          <ac:chgData name="Aurelien Domont" userId="6da7715ce44349b3" providerId="LiveId" clId="{EB96D462-0798-4F2A-A2A8-8BDE27500008}" dt="2023-10-04T03:00:56.229" v="391" actId="20577"/>
          <ac:spMkLst>
            <pc:docMk/>
            <pc:sldMk cId="1675062303" sldId="1929"/>
            <ac:spMk id="16" creationId="{6C2BB713-9637-4B9B-938F-E9768876782A}"/>
          </ac:spMkLst>
        </pc:spChg>
        <pc:spChg chg="mod">
          <ac:chgData name="Aurelien Domont" userId="6da7715ce44349b3" providerId="LiveId" clId="{EB96D462-0798-4F2A-A2A8-8BDE27500008}" dt="2023-10-04T02:55:43.416" v="371"/>
          <ac:spMkLst>
            <pc:docMk/>
            <pc:sldMk cId="1675062303" sldId="1929"/>
            <ac:spMk id="45" creationId="{4705B909-F094-4E27-8462-5070FB3C8438}"/>
          </ac:spMkLst>
        </pc:spChg>
        <pc:spChg chg="del">
          <ac:chgData name="Aurelien Domont" userId="6da7715ce44349b3" providerId="LiveId" clId="{EB96D462-0798-4F2A-A2A8-8BDE27500008}" dt="2023-10-04T03:00:30.551" v="384" actId="478"/>
          <ac:spMkLst>
            <pc:docMk/>
            <pc:sldMk cId="1675062303" sldId="1929"/>
            <ac:spMk id="46" creationId="{C433C980-B246-49AC-A1F3-5756EE2DA2ED}"/>
          </ac:spMkLst>
        </pc:spChg>
        <pc:spChg chg="del">
          <ac:chgData name="Aurelien Domont" userId="6da7715ce44349b3" providerId="LiveId" clId="{EB96D462-0798-4F2A-A2A8-8BDE27500008}" dt="2023-10-04T03:00:30.551" v="384" actId="478"/>
          <ac:spMkLst>
            <pc:docMk/>
            <pc:sldMk cId="1675062303" sldId="1929"/>
            <ac:spMk id="47" creationId="{FF0DCE74-6C68-4FE8-B9BC-EBBB0AE6D7E1}"/>
          </ac:spMkLst>
        </pc:spChg>
        <pc:spChg chg="mod">
          <ac:chgData name="Aurelien Domont" userId="6da7715ce44349b3" providerId="LiveId" clId="{EB96D462-0798-4F2A-A2A8-8BDE27500008}" dt="2023-10-04T02:54:20.116" v="368" actId="1037"/>
          <ac:spMkLst>
            <pc:docMk/>
            <pc:sldMk cId="1675062303" sldId="1929"/>
            <ac:spMk id="50" creationId="{021A7501-6AAB-40F6-B45B-D5EE90117B55}"/>
          </ac:spMkLst>
        </pc:spChg>
        <pc:spChg chg="del">
          <ac:chgData name="Aurelien Domont" userId="6da7715ce44349b3" providerId="LiveId" clId="{EB96D462-0798-4F2A-A2A8-8BDE27500008}" dt="2023-10-04T03:00:30.551" v="384" actId="478"/>
          <ac:spMkLst>
            <pc:docMk/>
            <pc:sldMk cId="1675062303" sldId="1929"/>
            <ac:spMk id="57" creationId="{D0871517-2C90-44F0-B6FD-EBDCC938BE9C}"/>
          </ac:spMkLst>
        </pc:spChg>
        <pc:spChg chg="mod">
          <ac:chgData name="Aurelien Domont" userId="6da7715ce44349b3" providerId="LiveId" clId="{EB96D462-0798-4F2A-A2A8-8BDE27500008}" dt="2023-10-04T02:55:28.648" v="369"/>
          <ac:spMkLst>
            <pc:docMk/>
            <pc:sldMk cId="1675062303" sldId="1929"/>
            <ac:spMk id="121" creationId="{BD4D2543-5708-42A2-8EE2-B377DF9385FB}"/>
          </ac:spMkLst>
        </pc:spChg>
        <pc:spChg chg="mod">
          <ac:chgData name="Aurelien Domont" userId="6da7715ce44349b3" providerId="LiveId" clId="{EB96D462-0798-4F2A-A2A8-8BDE27500008}" dt="2023-10-04T03:02:11.983" v="430" actId="255"/>
          <ac:spMkLst>
            <pc:docMk/>
            <pc:sldMk cId="1675062303" sldId="1929"/>
            <ac:spMk id="131" creationId="{C76B7FBD-575B-4C5A-8FB1-1F63D05FA9D3}"/>
          </ac:spMkLst>
        </pc:spChg>
        <pc:spChg chg="mod">
          <ac:chgData name="Aurelien Domont" userId="6da7715ce44349b3" providerId="LiveId" clId="{EB96D462-0798-4F2A-A2A8-8BDE27500008}" dt="2023-10-04T03:02:11.983" v="430" actId="255"/>
          <ac:spMkLst>
            <pc:docMk/>
            <pc:sldMk cId="1675062303" sldId="1929"/>
            <ac:spMk id="132" creationId="{C4702D20-AE96-4591-B64C-5F6124810436}"/>
          </ac:spMkLst>
        </pc:spChg>
        <pc:spChg chg="mod">
          <ac:chgData name="Aurelien Domont" userId="6da7715ce44349b3" providerId="LiveId" clId="{EB96D462-0798-4F2A-A2A8-8BDE27500008}" dt="2023-10-04T03:02:11.983" v="430" actId="255"/>
          <ac:spMkLst>
            <pc:docMk/>
            <pc:sldMk cId="1675062303" sldId="1929"/>
            <ac:spMk id="133" creationId="{3C778625-C3D1-48F2-9A33-8781BDF318D9}"/>
          </ac:spMkLst>
        </pc:spChg>
        <pc:cxnChg chg="mod">
          <ac:chgData name="Aurelien Domont" userId="6da7715ce44349b3" providerId="LiveId" clId="{EB96D462-0798-4F2A-A2A8-8BDE27500008}" dt="2023-09-27T02:27:56.899" v="16" actId="208"/>
          <ac:cxnSpMkLst>
            <pc:docMk/>
            <pc:sldMk cId="1675062303" sldId="1929"/>
            <ac:cxnSpMk id="54" creationId="{3E366202-1516-4E2B-8C02-57AD0E3DE466}"/>
          </ac:cxnSpMkLst>
        </pc:cxnChg>
      </pc:sldChg>
      <pc:sldChg chg="modSp mod">
        <pc:chgData name="Aurelien Domont" userId="6da7715ce44349b3" providerId="LiveId" clId="{EB96D462-0798-4F2A-A2A8-8BDE27500008}" dt="2023-10-05T02:54:04.351" v="1403" actId="20577"/>
        <pc:sldMkLst>
          <pc:docMk/>
          <pc:sldMk cId="471658671" sldId="1930"/>
        </pc:sldMkLst>
        <pc:spChg chg="mod">
          <ac:chgData name="Aurelien Domont" userId="6da7715ce44349b3" providerId="LiveId" clId="{EB96D462-0798-4F2A-A2A8-8BDE27500008}" dt="2023-10-05T02:54:04.351" v="1403" actId="20577"/>
          <ac:spMkLst>
            <pc:docMk/>
            <pc:sldMk cId="471658671" sldId="1930"/>
            <ac:spMk id="16" creationId="{6C2BB713-9637-4B9B-938F-E9768876782A}"/>
          </ac:spMkLst>
        </pc:spChg>
      </pc:sldChg>
      <pc:sldChg chg="modSp mod">
        <pc:chgData name="Aurelien Domont" userId="6da7715ce44349b3" providerId="LiveId" clId="{EB96D462-0798-4F2A-A2A8-8BDE27500008}" dt="2023-10-05T02:50:42.820" v="1346" actId="27636"/>
        <pc:sldMkLst>
          <pc:docMk/>
          <pc:sldMk cId="423301223" sldId="2148"/>
        </pc:sldMkLst>
        <pc:spChg chg="mod">
          <ac:chgData name="Aurelien Domont" userId="6da7715ce44349b3" providerId="LiveId" clId="{EB96D462-0798-4F2A-A2A8-8BDE27500008}" dt="2023-10-05T02:50:42.820" v="1346" actId="27636"/>
          <ac:spMkLst>
            <pc:docMk/>
            <pc:sldMk cId="423301223" sldId="2148"/>
            <ac:spMk id="16" creationId="{6C2BB713-9637-4B9B-938F-E9768876782A}"/>
          </ac:spMkLst>
        </pc:spChg>
        <pc:graphicFrameChg chg="mod modGraphic">
          <ac:chgData name="Aurelien Domont" userId="6da7715ce44349b3" providerId="LiveId" clId="{EB96D462-0798-4F2A-A2A8-8BDE27500008}" dt="2023-10-04T02:51:15.273" v="287" actId="20577"/>
          <ac:graphicFrameMkLst>
            <pc:docMk/>
            <pc:sldMk cId="423301223" sldId="2148"/>
            <ac:graphicFrameMk id="6" creationId="{5C5525D8-81F1-4A24-A0BB-F27EAE382C06}"/>
          </ac:graphicFrameMkLst>
        </pc:graphicFrameChg>
      </pc:sldChg>
      <pc:sldChg chg="addSp delSp modSp mod">
        <pc:chgData name="Aurelien Domont" userId="6da7715ce44349b3" providerId="LiveId" clId="{EB96D462-0798-4F2A-A2A8-8BDE27500008}" dt="2023-10-05T02:54:29.363" v="1414" actId="113"/>
        <pc:sldMkLst>
          <pc:docMk/>
          <pc:sldMk cId="1324642353" sldId="2152"/>
        </pc:sldMkLst>
        <pc:spChg chg="add del mod">
          <ac:chgData name="Aurelien Domont" userId="6da7715ce44349b3" providerId="LiveId" clId="{EB96D462-0798-4F2A-A2A8-8BDE27500008}" dt="2023-10-05T02:33:48.936" v="991" actId="478"/>
          <ac:spMkLst>
            <pc:docMk/>
            <pc:sldMk cId="1324642353" sldId="2152"/>
            <ac:spMk id="2" creationId="{0B8EA52F-AEA4-B5AE-1F92-138FCEC0D337}"/>
          </ac:spMkLst>
        </pc:spChg>
        <pc:spChg chg="add mod">
          <ac:chgData name="Aurelien Domont" userId="6da7715ce44349b3" providerId="LiveId" clId="{EB96D462-0798-4F2A-A2A8-8BDE27500008}" dt="2023-10-05T02:48:16.632" v="1312" actId="1038"/>
          <ac:spMkLst>
            <pc:docMk/>
            <pc:sldMk cId="1324642353" sldId="2152"/>
            <ac:spMk id="3" creationId="{8632FC85-A938-3496-09B4-D4AC4D187D54}"/>
          </ac:spMkLst>
        </pc:spChg>
        <pc:spChg chg="add mod topLvl">
          <ac:chgData name="Aurelien Domont" userId="6da7715ce44349b3" providerId="LiveId" clId="{EB96D462-0798-4F2A-A2A8-8BDE27500008}" dt="2023-10-05T02:49:10.690" v="1316" actId="14100"/>
          <ac:spMkLst>
            <pc:docMk/>
            <pc:sldMk cId="1324642353" sldId="2152"/>
            <ac:spMk id="4" creationId="{4F079D03-EB62-FBC0-FF37-6BEF00CB5A72}"/>
          </ac:spMkLst>
        </pc:spChg>
        <pc:spChg chg="add mod topLvl">
          <ac:chgData name="Aurelien Domont" userId="6da7715ce44349b3" providerId="LiveId" clId="{EB96D462-0798-4F2A-A2A8-8BDE27500008}" dt="2023-10-05T02:48:47.780" v="1314" actId="165"/>
          <ac:spMkLst>
            <pc:docMk/>
            <pc:sldMk cId="1324642353" sldId="2152"/>
            <ac:spMk id="5" creationId="{013454C0-FD63-CE60-9B85-15F78D811AFF}"/>
          </ac:spMkLst>
        </pc:spChg>
        <pc:spChg chg="del mod">
          <ac:chgData name="Aurelien Domont" userId="6da7715ce44349b3" providerId="LiveId" clId="{EB96D462-0798-4F2A-A2A8-8BDE27500008}" dt="2023-10-04T02:47:28.542" v="189" actId="478"/>
          <ac:spMkLst>
            <pc:docMk/>
            <pc:sldMk cId="1324642353" sldId="2152"/>
            <ac:spMk id="6" creationId="{C3CDFF47-2BDF-481B-8C77-A2EE049FF74B}"/>
          </ac:spMkLst>
        </pc:spChg>
        <pc:spChg chg="add mod topLvl">
          <ac:chgData name="Aurelien Domont" userId="6da7715ce44349b3" providerId="LiveId" clId="{EB96D462-0798-4F2A-A2A8-8BDE27500008}" dt="2023-10-05T02:48:47.780" v="1314" actId="165"/>
          <ac:spMkLst>
            <pc:docMk/>
            <pc:sldMk cId="1324642353" sldId="2152"/>
            <ac:spMk id="6" creationId="{FB3C09AE-3298-4E59-7723-58876F81CA3C}"/>
          </ac:spMkLst>
        </pc:spChg>
        <pc:spChg chg="add del mod">
          <ac:chgData name="Aurelien Domont" userId="6da7715ce44349b3" providerId="LiveId" clId="{EB96D462-0798-4F2A-A2A8-8BDE27500008}" dt="2023-10-05T02:33:51.706" v="993" actId="478"/>
          <ac:spMkLst>
            <pc:docMk/>
            <pc:sldMk cId="1324642353" sldId="2152"/>
            <ac:spMk id="7" creationId="{F1C9391B-B8F7-DDE3-83B2-9ED53A033A2A}"/>
          </ac:spMkLst>
        </pc:spChg>
        <pc:spChg chg="add mod topLvl">
          <ac:chgData name="Aurelien Domont" userId="6da7715ce44349b3" providerId="LiveId" clId="{EB96D462-0798-4F2A-A2A8-8BDE27500008}" dt="2023-10-05T02:48:47.780" v="1314" actId="165"/>
          <ac:spMkLst>
            <pc:docMk/>
            <pc:sldMk cId="1324642353" sldId="2152"/>
            <ac:spMk id="8" creationId="{75A113BC-9A7E-16F4-63F1-5A7AB16A7CEF}"/>
          </ac:spMkLst>
        </pc:spChg>
        <pc:spChg chg="add del mod">
          <ac:chgData name="Aurelien Domont" userId="6da7715ce44349b3" providerId="LiveId" clId="{EB96D462-0798-4F2A-A2A8-8BDE27500008}" dt="2023-10-05T02:43:15.737" v="1134" actId="478"/>
          <ac:spMkLst>
            <pc:docMk/>
            <pc:sldMk cId="1324642353" sldId="2152"/>
            <ac:spMk id="9" creationId="{B0C764D6-83AD-372F-0295-12476A2DBE6A}"/>
          </ac:spMkLst>
        </pc:spChg>
        <pc:spChg chg="add del mod">
          <ac:chgData name="Aurelien Domont" userId="6da7715ce44349b3" providerId="LiveId" clId="{EB96D462-0798-4F2A-A2A8-8BDE27500008}" dt="2023-10-05T02:33:50.285" v="992" actId="478"/>
          <ac:spMkLst>
            <pc:docMk/>
            <pc:sldMk cId="1324642353" sldId="2152"/>
            <ac:spMk id="10" creationId="{EA6D7A0D-58EF-7635-F97C-2D431D6EEAE2}"/>
          </ac:spMkLst>
        </pc:spChg>
        <pc:spChg chg="add del mod">
          <ac:chgData name="Aurelien Domont" userId="6da7715ce44349b3" providerId="LiveId" clId="{EB96D462-0798-4F2A-A2A8-8BDE27500008}" dt="2023-10-05T02:43:15.737" v="1134" actId="478"/>
          <ac:spMkLst>
            <pc:docMk/>
            <pc:sldMk cId="1324642353" sldId="2152"/>
            <ac:spMk id="11" creationId="{A41BAEE3-30ED-F859-611F-762C3D850E5D}"/>
          </ac:spMkLst>
        </pc:spChg>
        <pc:spChg chg="del mod">
          <ac:chgData name="Aurelien Domont" userId="6da7715ce44349b3" providerId="LiveId" clId="{EB96D462-0798-4F2A-A2A8-8BDE27500008}" dt="2023-10-04T02:38:22.345" v="97" actId="478"/>
          <ac:spMkLst>
            <pc:docMk/>
            <pc:sldMk cId="1324642353" sldId="2152"/>
            <ac:spMk id="11" creationId="{CC20D042-C261-40FA-9AD5-C92E9BBE6615}"/>
          </ac:spMkLst>
        </pc:spChg>
        <pc:spChg chg="add del mod">
          <ac:chgData name="Aurelien Domont" userId="6da7715ce44349b3" providerId="LiveId" clId="{EB96D462-0798-4F2A-A2A8-8BDE27500008}" dt="2023-10-05T02:43:15.737" v="1134" actId="478"/>
          <ac:spMkLst>
            <pc:docMk/>
            <pc:sldMk cId="1324642353" sldId="2152"/>
            <ac:spMk id="12" creationId="{235AA45B-BAC7-F0AB-399F-37F6B457D0B1}"/>
          </ac:spMkLst>
        </pc:spChg>
        <pc:spChg chg="del mod">
          <ac:chgData name="Aurelien Domont" userId="6da7715ce44349b3" providerId="LiveId" clId="{EB96D462-0798-4F2A-A2A8-8BDE27500008}" dt="2023-10-04T02:38:22.345" v="97" actId="478"/>
          <ac:spMkLst>
            <pc:docMk/>
            <pc:sldMk cId="1324642353" sldId="2152"/>
            <ac:spMk id="12" creationId="{9D0CD2E9-3F7C-4642-9314-A5A56FD65353}"/>
          </ac:spMkLst>
        </pc:spChg>
        <pc:spChg chg="del mod">
          <ac:chgData name="Aurelien Domont" userId="6da7715ce44349b3" providerId="LiveId" clId="{EB96D462-0798-4F2A-A2A8-8BDE27500008}" dt="2023-10-04T02:38:22.345" v="97" actId="478"/>
          <ac:spMkLst>
            <pc:docMk/>
            <pc:sldMk cId="1324642353" sldId="2152"/>
            <ac:spMk id="14" creationId="{05C7ABA3-592D-494A-A845-ADFDA1E4756F}"/>
          </ac:spMkLst>
        </pc:spChg>
        <pc:spChg chg="add del mod">
          <ac:chgData name="Aurelien Domont" userId="6da7715ce44349b3" providerId="LiveId" clId="{EB96D462-0798-4F2A-A2A8-8BDE27500008}" dt="2023-10-05T02:43:15.737" v="1134" actId="478"/>
          <ac:spMkLst>
            <pc:docMk/>
            <pc:sldMk cId="1324642353" sldId="2152"/>
            <ac:spMk id="14" creationId="{51396908-957D-3CB7-21EF-E1DD3DDB29DE}"/>
          </ac:spMkLst>
        </pc:spChg>
        <pc:spChg chg="add del mod">
          <ac:chgData name="Aurelien Domont" userId="6da7715ce44349b3" providerId="LiveId" clId="{EB96D462-0798-4F2A-A2A8-8BDE27500008}" dt="2023-10-05T02:41:34.301" v="1085" actId="478"/>
          <ac:spMkLst>
            <pc:docMk/>
            <pc:sldMk cId="1324642353" sldId="2152"/>
            <ac:spMk id="15" creationId="{1AE54D09-1B0C-A03E-0899-FC1686D7EA13}"/>
          </ac:spMkLst>
        </pc:spChg>
        <pc:spChg chg="mod">
          <ac:chgData name="Aurelien Domont" userId="6da7715ce44349b3" providerId="LiveId" clId="{EB96D462-0798-4F2A-A2A8-8BDE27500008}" dt="2023-10-05T02:54:29.363" v="1414" actId="113"/>
          <ac:spMkLst>
            <pc:docMk/>
            <pc:sldMk cId="1324642353" sldId="2152"/>
            <ac:spMk id="16" creationId="{6C2BB713-9637-4B9B-938F-E9768876782A}"/>
          </ac:spMkLst>
        </pc:spChg>
        <pc:spChg chg="add del mod">
          <ac:chgData name="Aurelien Domont" userId="6da7715ce44349b3" providerId="LiveId" clId="{EB96D462-0798-4F2A-A2A8-8BDE27500008}" dt="2023-10-05T02:43:15.737" v="1134" actId="478"/>
          <ac:spMkLst>
            <pc:docMk/>
            <pc:sldMk cId="1324642353" sldId="2152"/>
            <ac:spMk id="17" creationId="{B5F62397-09D5-ADA0-0285-D939535AACD0}"/>
          </ac:spMkLst>
        </pc:spChg>
        <pc:spChg chg="del mod">
          <ac:chgData name="Aurelien Domont" userId="6da7715ce44349b3" providerId="LiveId" clId="{EB96D462-0798-4F2A-A2A8-8BDE27500008}" dt="2023-10-04T02:38:22.345" v="97" actId="478"/>
          <ac:spMkLst>
            <pc:docMk/>
            <pc:sldMk cId="1324642353" sldId="2152"/>
            <ac:spMk id="18" creationId="{6D0D68B1-9DCF-46E2-87CD-C0AFC2962BA3}"/>
          </ac:spMkLst>
        </pc:spChg>
        <pc:spChg chg="add del mod">
          <ac:chgData name="Aurelien Domont" userId="6da7715ce44349b3" providerId="LiveId" clId="{EB96D462-0798-4F2A-A2A8-8BDE27500008}" dt="2023-10-05T02:43:15.737" v="1134" actId="478"/>
          <ac:spMkLst>
            <pc:docMk/>
            <pc:sldMk cId="1324642353" sldId="2152"/>
            <ac:spMk id="18" creationId="{F133A272-549B-7D63-188B-BE29DA122386}"/>
          </ac:spMkLst>
        </pc:spChg>
        <pc:spChg chg="add del mod">
          <ac:chgData name="Aurelien Domont" userId="6da7715ce44349b3" providerId="LiveId" clId="{EB96D462-0798-4F2A-A2A8-8BDE27500008}" dt="2023-10-05T02:43:15.737" v="1134" actId="478"/>
          <ac:spMkLst>
            <pc:docMk/>
            <pc:sldMk cId="1324642353" sldId="2152"/>
            <ac:spMk id="19" creationId="{B078C83D-CCD1-1CF6-7DE9-D7A87DCCDADD}"/>
          </ac:spMkLst>
        </pc:spChg>
        <pc:spChg chg="add del mod">
          <ac:chgData name="Aurelien Domont" userId="6da7715ce44349b3" providerId="LiveId" clId="{EB96D462-0798-4F2A-A2A8-8BDE27500008}" dt="2023-10-05T02:43:15.737" v="1134" actId="478"/>
          <ac:spMkLst>
            <pc:docMk/>
            <pc:sldMk cId="1324642353" sldId="2152"/>
            <ac:spMk id="20" creationId="{D6FB8389-F015-2742-5CDF-05FA96107722}"/>
          </ac:spMkLst>
        </pc:spChg>
        <pc:spChg chg="del mod">
          <ac:chgData name="Aurelien Domont" userId="6da7715ce44349b3" providerId="LiveId" clId="{EB96D462-0798-4F2A-A2A8-8BDE27500008}" dt="2023-10-04T02:38:22.345" v="97" actId="478"/>
          <ac:spMkLst>
            <pc:docMk/>
            <pc:sldMk cId="1324642353" sldId="2152"/>
            <ac:spMk id="21" creationId="{F5002797-E4EA-45B8-B820-76ECE0702817}"/>
          </ac:spMkLst>
        </pc:spChg>
        <pc:spChg chg="mod topLvl">
          <ac:chgData name="Aurelien Domont" userId="6da7715ce44349b3" providerId="LiveId" clId="{EB96D462-0798-4F2A-A2A8-8BDE27500008}" dt="2023-10-05T02:49:10.690" v="1316" actId="14100"/>
          <ac:spMkLst>
            <pc:docMk/>
            <pc:sldMk cId="1324642353" sldId="2152"/>
            <ac:spMk id="23" creationId="{1634E559-62D7-E825-A6A9-E9DAA21407B7}"/>
          </ac:spMkLst>
        </pc:spChg>
        <pc:spChg chg="mod topLvl">
          <ac:chgData name="Aurelien Domont" userId="6da7715ce44349b3" providerId="LiveId" clId="{EB96D462-0798-4F2A-A2A8-8BDE27500008}" dt="2023-10-05T02:48:52.290" v="1315" actId="165"/>
          <ac:spMkLst>
            <pc:docMk/>
            <pc:sldMk cId="1324642353" sldId="2152"/>
            <ac:spMk id="24" creationId="{AFB2F9EB-EC9E-5301-897E-C7EDA7A7F627}"/>
          </ac:spMkLst>
        </pc:spChg>
        <pc:spChg chg="mod topLvl">
          <ac:chgData name="Aurelien Domont" userId="6da7715ce44349b3" providerId="LiveId" clId="{EB96D462-0798-4F2A-A2A8-8BDE27500008}" dt="2023-10-05T02:48:52.290" v="1315" actId="165"/>
          <ac:spMkLst>
            <pc:docMk/>
            <pc:sldMk cId="1324642353" sldId="2152"/>
            <ac:spMk id="25" creationId="{CC17C3D1-B07E-7962-E83F-26ECD11AB03D}"/>
          </ac:spMkLst>
        </pc:spChg>
        <pc:spChg chg="mod topLvl">
          <ac:chgData name="Aurelien Domont" userId="6da7715ce44349b3" providerId="LiveId" clId="{EB96D462-0798-4F2A-A2A8-8BDE27500008}" dt="2023-10-05T02:48:52.290" v="1315" actId="165"/>
          <ac:spMkLst>
            <pc:docMk/>
            <pc:sldMk cId="1324642353" sldId="2152"/>
            <ac:spMk id="26" creationId="{8F635009-FF6A-82E9-A585-1DB4FDF02F53}"/>
          </ac:spMkLst>
        </pc:spChg>
        <pc:spChg chg="mod topLvl">
          <ac:chgData name="Aurelien Domont" userId="6da7715ce44349b3" providerId="LiveId" clId="{EB96D462-0798-4F2A-A2A8-8BDE27500008}" dt="2023-10-05T02:49:10.690" v="1316" actId="14100"/>
          <ac:spMkLst>
            <pc:docMk/>
            <pc:sldMk cId="1324642353" sldId="2152"/>
            <ac:spMk id="28" creationId="{85DFF66C-8AF7-85FF-E512-F3C79F884B09}"/>
          </ac:spMkLst>
        </pc:spChg>
        <pc:spChg chg="mod topLvl">
          <ac:chgData name="Aurelien Domont" userId="6da7715ce44349b3" providerId="LiveId" clId="{EB96D462-0798-4F2A-A2A8-8BDE27500008}" dt="2023-10-05T02:48:52.290" v="1315" actId="165"/>
          <ac:spMkLst>
            <pc:docMk/>
            <pc:sldMk cId="1324642353" sldId="2152"/>
            <ac:spMk id="29" creationId="{3682B503-520B-387F-2048-2CAC6A9B78F2}"/>
          </ac:spMkLst>
        </pc:spChg>
        <pc:spChg chg="mod topLvl">
          <ac:chgData name="Aurelien Domont" userId="6da7715ce44349b3" providerId="LiveId" clId="{EB96D462-0798-4F2A-A2A8-8BDE27500008}" dt="2023-10-05T02:48:52.290" v="1315" actId="165"/>
          <ac:spMkLst>
            <pc:docMk/>
            <pc:sldMk cId="1324642353" sldId="2152"/>
            <ac:spMk id="30" creationId="{4158D8A0-8667-2045-4AC4-160A464681E6}"/>
          </ac:spMkLst>
        </pc:spChg>
        <pc:spChg chg="mod topLvl">
          <ac:chgData name="Aurelien Domont" userId="6da7715ce44349b3" providerId="LiveId" clId="{EB96D462-0798-4F2A-A2A8-8BDE27500008}" dt="2023-10-05T02:48:52.290" v="1315" actId="165"/>
          <ac:spMkLst>
            <pc:docMk/>
            <pc:sldMk cId="1324642353" sldId="2152"/>
            <ac:spMk id="31" creationId="{2C92E4CA-AED7-61D5-66F2-67D602F4C60F}"/>
          </ac:spMkLst>
        </pc:spChg>
        <pc:spChg chg="mod topLvl">
          <ac:chgData name="Aurelien Domont" userId="6da7715ce44349b3" providerId="LiveId" clId="{EB96D462-0798-4F2A-A2A8-8BDE27500008}" dt="2023-10-05T02:49:10.690" v="1316" actId="14100"/>
          <ac:spMkLst>
            <pc:docMk/>
            <pc:sldMk cId="1324642353" sldId="2152"/>
            <ac:spMk id="33" creationId="{D67A5247-FB74-8BC4-2DCD-BEF838F7A88C}"/>
          </ac:spMkLst>
        </pc:spChg>
        <pc:spChg chg="mod topLvl">
          <ac:chgData name="Aurelien Domont" userId="6da7715ce44349b3" providerId="LiveId" clId="{EB96D462-0798-4F2A-A2A8-8BDE27500008}" dt="2023-10-05T02:48:52.290" v="1315" actId="165"/>
          <ac:spMkLst>
            <pc:docMk/>
            <pc:sldMk cId="1324642353" sldId="2152"/>
            <ac:spMk id="34" creationId="{2DD328DD-BF71-3AD5-3BEF-321B81C24959}"/>
          </ac:spMkLst>
        </pc:spChg>
        <pc:spChg chg="mod topLvl">
          <ac:chgData name="Aurelien Domont" userId="6da7715ce44349b3" providerId="LiveId" clId="{EB96D462-0798-4F2A-A2A8-8BDE27500008}" dt="2023-10-05T02:50:12.245" v="1341" actId="20577"/>
          <ac:spMkLst>
            <pc:docMk/>
            <pc:sldMk cId="1324642353" sldId="2152"/>
            <ac:spMk id="35" creationId="{773D4FBF-B598-55A4-F2C0-36C77927A4FE}"/>
          </ac:spMkLst>
        </pc:spChg>
        <pc:spChg chg="mod topLvl">
          <ac:chgData name="Aurelien Domont" userId="6da7715ce44349b3" providerId="LiveId" clId="{EB96D462-0798-4F2A-A2A8-8BDE27500008}" dt="2023-10-05T02:48:52.290" v="1315" actId="165"/>
          <ac:spMkLst>
            <pc:docMk/>
            <pc:sldMk cId="1324642353" sldId="2152"/>
            <ac:spMk id="36" creationId="{7E71CEAE-0F2F-7148-2EEB-FFAEFE5FDC0C}"/>
          </ac:spMkLst>
        </pc:spChg>
        <pc:grpChg chg="add del mod">
          <ac:chgData name="Aurelien Domont" userId="6da7715ce44349b3" providerId="LiveId" clId="{EB96D462-0798-4F2A-A2A8-8BDE27500008}" dt="2023-10-05T02:48:47.780" v="1314" actId="165"/>
          <ac:grpSpMkLst>
            <pc:docMk/>
            <pc:sldMk cId="1324642353" sldId="2152"/>
            <ac:grpSpMk id="21" creationId="{86CC03EA-E6AE-D10A-0545-384832BDA80C}"/>
          </ac:grpSpMkLst>
        </pc:grpChg>
        <pc:grpChg chg="add del mod">
          <ac:chgData name="Aurelien Domont" userId="6da7715ce44349b3" providerId="LiveId" clId="{EB96D462-0798-4F2A-A2A8-8BDE27500008}" dt="2023-10-05T02:48:52.290" v="1315" actId="165"/>
          <ac:grpSpMkLst>
            <pc:docMk/>
            <pc:sldMk cId="1324642353" sldId="2152"/>
            <ac:grpSpMk id="22" creationId="{CF62C382-9DF7-8736-D806-095D92C852F9}"/>
          </ac:grpSpMkLst>
        </pc:grpChg>
        <pc:grpChg chg="add del mod">
          <ac:chgData name="Aurelien Domont" userId="6da7715ce44349b3" providerId="LiveId" clId="{EB96D462-0798-4F2A-A2A8-8BDE27500008}" dt="2023-10-05T02:48:52.290" v="1315" actId="165"/>
          <ac:grpSpMkLst>
            <pc:docMk/>
            <pc:sldMk cId="1324642353" sldId="2152"/>
            <ac:grpSpMk id="27" creationId="{AC950E43-B6DF-6245-781B-AD7FF09DE7D9}"/>
          </ac:grpSpMkLst>
        </pc:grpChg>
        <pc:grpChg chg="add del mod">
          <ac:chgData name="Aurelien Domont" userId="6da7715ce44349b3" providerId="LiveId" clId="{EB96D462-0798-4F2A-A2A8-8BDE27500008}" dt="2023-10-05T02:48:52.290" v="1315" actId="165"/>
          <ac:grpSpMkLst>
            <pc:docMk/>
            <pc:sldMk cId="1324642353" sldId="2152"/>
            <ac:grpSpMk id="32" creationId="{ED10EDAC-EACE-0404-9515-E823B4B4B4E3}"/>
          </ac:grpSpMkLst>
        </pc:grpChg>
        <pc:picChg chg="del mod">
          <ac:chgData name="Aurelien Domont" userId="6da7715ce44349b3" providerId="LiveId" clId="{EB96D462-0798-4F2A-A2A8-8BDE27500008}" dt="2023-10-04T02:38:22.345" v="97" actId="478"/>
          <ac:picMkLst>
            <pc:docMk/>
            <pc:sldMk cId="1324642353" sldId="2152"/>
            <ac:picMk id="3" creationId="{177C207C-E9C5-4F72-BD2F-D9590E622F5E}"/>
          </ac:picMkLst>
        </pc:picChg>
        <pc:picChg chg="del mod">
          <ac:chgData name="Aurelien Domont" userId="6da7715ce44349b3" providerId="LiveId" clId="{EB96D462-0798-4F2A-A2A8-8BDE27500008}" dt="2023-10-04T02:38:22.345" v="97" actId="478"/>
          <ac:picMkLst>
            <pc:docMk/>
            <pc:sldMk cId="1324642353" sldId="2152"/>
            <ac:picMk id="4" creationId="{8BFAD7E0-FAF3-4A7F-85D7-23D126159742}"/>
          </ac:picMkLst>
        </pc:picChg>
        <pc:picChg chg="del mod">
          <ac:chgData name="Aurelien Domont" userId="6da7715ce44349b3" providerId="LiveId" clId="{EB96D462-0798-4F2A-A2A8-8BDE27500008}" dt="2023-10-04T02:38:22.345" v="97" actId="478"/>
          <ac:picMkLst>
            <pc:docMk/>
            <pc:sldMk cId="1324642353" sldId="2152"/>
            <ac:picMk id="5" creationId="{2364D466-67B2-4F3D-B207-44E6F410B178}"/>
          </ac:picMkLst>
        </pc:picChg>
        <pc:picChg chg="del mod">
          <ac:chgData name="Aurelien Domont" userId="6da7715ce44349b3" providerId="LiveId" clId="{EB96D462-0798-4F2A-A2A8-8BDE27500008}" dt="2023-10-04T02:38:22.345" v="97" actId="478"/>
          <ac:picMkLst>
            <pc:docMk/>
            <pc:sldMk cId="1324642353" sldId="2152"/>
            <ac:picMk id="8" creationId="{7AE82408-0EBB-4A84-8485-6C50815A63F2}"/>
          </ac:picMkLst>
        </pc:picChg>
        <pc:picChg chg="del mod">
          <ac:chgData name="Aurelien Domont" userId="6da7715ce44349b3" providerId="LiveId" clId="{EB96D462-0798-4F2A-A2A8-8BDE27500008}" dt="2023-10-04T02:38:22.345" v="97" actId="478"/>
          <ac:picMkLst>
            <pc:docMk/>
            <pc:sldMk cId="1324642353" sldId="2152"/>
            <ac:picMk id="9" creationId="{D861C705-A534-40EE-AF44-8BEF75E73C3A}"/>
          </ac:picMkLst>
        </pc:picChg>
      </pc:sldChg>
      <pc:sldChg chg="modSp del mod">
        <pc:chgData name="Aurelien Domont" userId="6da7715ce44349b3" providerId="LiveId" clId="{EB96D462-0798-4F2A-A2A8-8BDE27500008}" dt="2023-10-05T02:50:29.231" v="1342" actId="47"/>
        <pc:sldMkLst>
          <pc:docMk/>
          <pc:sldMk cId="2226532108" sldId="2153"/>
        </pc:sldMkLst>
        <pc:spChg chg="mod">
          <ac:chgData name="Aurelien Domont" userId="6da7715ce44349b3" providerId="LiveId" clId="{EB96D462-0798-4F2A-A2A8-8BDE27500008}" dt="2023-10-04T02:48:51.034" v="229" actId="403"/>
          <ac:spMkLst>
            <pc:docMk/>
            <pc:sldMk cId="2226532108" sldId="2153"/>
            <ac:spMk id="16" creationId="{6C2BB713-9637-4B9B-938F-E9768876782A}"/>
          </ac:spMkLst>
        </pc:spChg>
        <pc:spChg chg="mod">
          <ac:chgData name="Aurelien Domont" userId="6da7715ce44349b3" providerId="LiveId" clId="{EB96D462-0798-4F2A-A2A8-8BDE27500008}" dt="2023-10-04T02:58:16.113" v="377" actId="1076"/>
          <ac:spMkLst>
            <pc:docMk/>
            <pc:sldMk cId="2226532108" sldId="2153"/>
            <ac:spMk id="27" creationId="{BE87449D-3234-4567-915F-980F05B8A3E1}"/>
          </ac:spMkLst>
        </pc:spChg>
        <pc:spChg chg="mod">
          <ac:chgData name="Aurelien Domont" userId="6da7715ce44349b3" providerId="LiveId" clId="{EB96D462-0798-4F2A-A2A8-8BDE27500008}" dt="2023-10-04T02:58:16.113" v="377" actId="1076"/>
          <ac:spMkLst>
            <pc:docMk/>
            <pc:sldMk cId="2226532108" sldId="2153"/>
            <ac:spMk id="28" creationId="{B0214802-ABDE-4F5B-AC18-9EE0C5AED73D}"/>
          </ac:spMkLst>
        </pc:spChg>
        <pc:spChg chg="mod">
          <ac:chgData name="Aurelien Domont" userId="6da7715ce44349b3" providerId="LiveId" clId="{EB96D462-0798-4F2A-A2A8-8BDE27500008}" dt="2023-10-04T02:58:16.113" v="377" actId="1076"/>
          <ac:spMkLst>
            <pc:docMk/>
            <pc:sldMk cId="2226532108" sldId="2153"/>
            <ac:spMk id="29" creationId="{04EE0F4B-C5FD-48E2-B995-42C0C5E3FF95}"/>
          </ac:spMkLst>
        </pc:spChg>
        <pc:spChg chg="mod">
          <ac:chgData name="Aurelien Domont" userId="6da7715ce44349b3" providerId="LiveId" clId="{EB96D462-0798-4F2A-A2A8-8BDE27500008}" dt="2023-10-04T02:58:16.113" v="377" actId="1076"/>
          <ac:spMkLst>
            <pc:docMk/>
            <pc:sldMk cId="2226532108" sldId="2153"/>
            <ac:spMk id="30" creationId="{AB276962-2016-4C64-9B58-D5EFA8B098DB}"/>
          </ac:spMkLst>
        </pc:spChg>
        <pc:spChg chg="mod">
          <ac:chgData name="Aurelien Domont" userId="6da7715ce44349b3" providerId="LiveId" clId="{EB96D462-0798-4F2A-A2A8-8BDE27500008}" dt="2023-10-04T02:58:16.113" v="377" actId="1076"/>
          <ac:spMkLst>
            <pc:docMk/>
            <pc:sldMk cId="2226532108" sldId="2153"/>
            <ac:spMk id="31" creationId="{32E441B9-647C-44E2-ABF7-8C700B50EB40}"/>
          </ac:spMkLst>
        </pc:spChg>
        <pc:spChg chg="mod">
          <ac:chgData name="Aurelien Domont" userId="6da7715ce44349b3" providerId="LiveId" clId="{EB96D462-0798-4F2A-A2A8-8BDE27500008}" dt="2023-10-04T02:58:16.113" v="377" actId="1076"/>
          <ac:spMkLst>
            <pc:docMk/>
            <pc:sldMk cId="2226532108" sldId="2153"/>
            <ac:spMk id="32" creationId="{AA876D5D-3C5F-496A-A2A3-C7CECF06BF89}"/>
          </ac:spMkLst>
        </pc:spChg>
        <pc:spChg chg="mod">
          <ac:chgData name="Aurelien Domont" userId="6da7715ce44349b3" providerId="LiveId" clId="{EB96D462-0798-4F2A-A2A8-8BDE27500008}" dt="2023-10-04T02:58:16.113" v="377" actId="1076"/>
          <ac:spMkLst>
            <pc:docMk/>
            <pc:sldMk cId="2226532108" sldId="2153"/>
            <ac:spMk id="33" creationId="{A7501CC5-3F4A-44E0-B2B8-6ED55A47C121}"/>
          </ac:spMkLst>
        </pc:spChg>
        <pc:spChg chg="mod">
          <ac:chgData name="Aurelien Domont" userId="6da7715ce44349b3" providerId="LiveId" clId="{EB96D462-0798-4F2A-A2A8-8BDE27500008}" dt="2023-10-04T02:58:16.113" v="377" actId="1076"/>
          <ac:spMkLst>
            <pc:docMk/>
            <pc:sldMk cId="2226532108" sldId="2153"/>
            <ac:spMk id="34" creationId="{6B4D7915-5BA7-4C17-B2F1-780DF97B5174}"/>
          </ac:spMkLst>
        </pc:spChg>
        <pc:spChg chg="mod">
          <ac:chgData name="Aurelien Domont" userId="6da7715ce44349b3" providerId="LiveId" clId="{EB96D462-0798-4F2A-A2A8-8BDE27500008}" dt="2023-10-04T02:58:16.113" v="377" actId="1076"/>
          <ac:spMkLst>
            <pc:docMk/>
            <pc:sldMk cId="2226532108" sldId="2153"/>
            <ac:spMk id="35" creationId="{EE299828-482C-40C5-9D51-A83AB6184A67}"/>
          </ac:spMkLst>
        </pc:spChg>
        <pc:spChg chg="mod">
          <ac:chgData name="Aurelien Domont" userId="6da7715ce44349b3" providerId="LiveId" clId="{EB96D462-0798-4F2A-A2A8-8BDE27500008}" dt="2023-10-04T02:58:16.113" v="377" actId="1076"/>
          <ac:spMkLst>
            <pc:docMk/>
            <pc:sldMk cId="2226532108" sldId="2153"/>
            <ac:spMk id="36" creationId="{91C98F09-57BA-4745-8C0B-CE5B55E3EC2E}"/>
          </ac:spMkLst>
        </pc:spChg>
        <pc:spChg chg="mod">
          <ac:chgData name="Aurelien Domont" userId="6da7715ce44349b3" providerId="LiveId" clId="{EB96D462-0798-4F2A-A2A8-8BDE27500008}" dt="2023-10-05T02:47:00.637" v="1274" actId="20577"/>
          <ac:spMkLst>
            <pc:docMk/>
            <pc:sldMk cId="2226532108" sldId="2153"/>
            <ac:spMk id="37" creationId="{22049F5D-80E0-4952-8C95-093181A7EF1C}"/>
          </ac:spMkLst>
        </pc:spChg>
        <pc:spChg chg="mod">
          <ac:chgData name="Aurelien Domont" userId="6da7715ce44349b3" providerId="LiveId" clId="{EB96D462-0798-4F2A-A2A8-8BDE27500008}" dt="2023-10-04T02:58:16.113" v="377" actId="1076"/>
          <ac:spMkLst>
            <pc:docMk/>
            <pc:sldMk cId="2226532108" sldId="2153"/>
            <ac:spMk id="38" creationId="{712FE8DE-44E0-4055-9561-4D639B2173A8}"/>
          </ac:spMkLst>
        </pc:spChg>
      </pc:sldChg>
      <pc:sldChg chg="modSp mod">
        <pc:chgData name="Aurelien Domont" userId="6da7715ce44349b3" providerId="LiveId" clId="{EB96D462-0798-4F2A-A2A8-8BDE27500008}" dt="2023-10-05T02:52:10.518" v="1380" actId="20577"/>
        <pc:sldMkLst>
          <pc:docMk/>
          <pc:sldMk cId="3613236081" sldId="2154"/>
        </pc:sldMkLst>
        <pc:spChg chg="mod">
          <ac:chgData name="Aurelien Domont" userId="6da7715ce44349b3" providerId="LiveId" clId="{EB96D462-0798-4F2A-A2A8-8BDE27500008}" dt="2023-10-05T02:51:11.914" v="1354" actId="20577"/>
          <ac:spMkLst>
            <pc:docMk/>
            <pc:sldMk cId="3613236081" sldId="2154"/>
            <ac:spMk id="16" creationId="{6C2BB713-9637-4B9B-938F-E9768876782A}"/>
          </ac:spMkLst>
        </pc:spChg>
        <pc:spChg chg="mod">
          <ac:chgData name="Aurelien Domont" userId="6da7715ce44349b3" providerId="LiveId" clId="{EB96D462-0798-4F2A-A2A8-8BDE27500008}" dt="2023-10-05T02:52:10.518" v="1380" actId="20577"/>
          <ac:spMkLst>
            <pc:docMk/>
            <pc:sldMk cId="3613236081" sldId="2154"/>
            <ac:spMk id="24" creationId="{5262883E-429E-4FBD-BE90-9FFFC2CD6641}"/>
          </ac:spMkLst>
        </pc:spChg>
      </pc:sldChg>
      <pc:sldChg chg="addSp delSp modSp del mod">
        <pc:chgData name="Aurelien Domont" userId="6da7715ce44349b3" providerId="LiveId" clId="{EB96D462-0798-4F2A-A2A8-8BDE27500008}" dt="2023-10-04T03:21:03.121" v="909" actId="47"/>
        <pc:sldMkLst>
          <pc:docMk/>
          <pc:sldMk cId="3175191540" sldId="2155"/>
        </pc:sldMkLst>
        <pc:spChg chg="add mod">
          <ac:chgData name="Aurelien Domont" userId="6da7715ce44349b3" providerId="LiveId" clId="{EB96D462-0798-4F2A-A2A8-8BDE27500008}" dt="2023-10-04T03:00:38.151" v="387"/>
          <ac:spMkLst>
            <pc:docMk/>
            <pc:sldMk cId="3175191540" sldId="2155"/>
            <ac:spMk id="2" creationId="{2EAB6D97-ED7C-68A0-3A3B-1F4562C26D9F}"/>
          </ac:spMkLst>
        </pc:spChg>
        <pc:spChg chg="add mod">
          <ac:chgData name="Aurelien Domont" userId="6da7715ce44349b3" providerId="LiveId" clId="{EB96D462-0798-4F2A-A2A8-8BDE27500008}" dt="2023-10-04T03:00:38.151" v="387"/>
          <ac:spMkLst>
            <pc:docMk/>
            <pc:sldMk cId="3175191540" sldId="2155"/>
            <ac:spMk id="4" creationId="{DF958026-33D4-2582-0D97-C8BFDFAF7C83}"/>
          </ac:spMkLst>
        </pc:spChg>
        <pc:spChg chg="add mod">
          <ac:chgData name="Aurelien Domont" userId="6da7715ce44349b3" providerId="LiveId" clId="{EB96D462-0798-4F2A-A2A8-8BDE27500008}" dt="2023-10-04T03:00:38.151" v="387"/>
          <ac:spMkLst>
            <pc:docMk/>
            <pc:sldMk cId="3175191540" sldId="2155"/>
            <ac:spMk id="5" creationId="{44AE4A91-72B4-4423-DA85-CED85B58732A}"/>
          </ac:spMkLst>
        </pc:spChg>
        <pc:spChg chg="mod">
          <ac:chgData name="Aurelien Domont" userId="6da7715ce44349b3" providerId="LiveId" clId="{EB96D462-0798-4F2A-A2A8-8BDE27500008}" dt="2023-10-04T02:55:45.443" v="372"/>
          <ac:spMkLst>
            <pc:docMk/>
            <pc:sldMk cId="3175191540" sldId="2155"/>
            <ac:spMk id="45" creationId="{4705B909-F094-4E27-8462-5070FB3C8438}"/>
          </ac:spMkLst>
        </pc:spChg>
        <pc:spChg chg="del">
          <ac:chgData name="Aurelien Domont" userId="6da7715ce44349b3" providerId="LiveId" clId="{EB96D462-0798-4F2A-A2A8-8BDE27500008}" dt="2023-10-04T03:00:36.165" v="386" actId="478"/>
          <ac:spMkLst>
            <pc:docMk/>
            <pc:sldMk cId="3175191540" sldId="2155"/>
            <ac:spMk id="46" creationId="{C433C980-B246-49AC-A1F3-5756EE2DA2ED}"/>
          </ac:spMkLst>
        </pc:spChg>
        <pc:spChg chg="del">
          <ac:chgData name="Aurelien Domont" userId="6da7715ce44349b3" providerId="LiveId" clId="{EB96D462-0798-4F2A-A2A8-8BDE27500008}" dt="2023-10-04T03:00:36.165" v="386" actId="478"/>
          <ac:spMkLst>
            <pc:docMk/>
            <pc:sldMk cId="3175191540" sldId="2155"/>
            <ac:spMk id="47" creationId="{FF0DCE74-6C68-4FE8-B9BC-EBBB0AE6D7E1}"/>
          </ac:spMkLst>
        </pc:spChg>
        <pc:spChg chg="del">
          <ac:chgData name="Aurelien Domont" userId="6da7715ce44349b3" providerId="LiveId" clId="{EB96D462-0798-4F2A-A2A8-8BDE27500008}" dt="2023-10-04T03:00:36.165" v="386" actId="478"/>
          <ac:spMkLst>
            <pc:docMk/>
            <pc:sldMk cId="3175191540" sldId="2155"/>
            <ac:spMk id="57" creationId="{D0871517-2C90-44F0-B6FD-EBDCC938BE9C}"/>
          </ac:spMkLst>
        </pc:spChg>
        <pc:spChg chg="mod">
          <ac:chgData name="Aurelien Domont" userId="6da7715ce44349b3" providerId="LiveId" clId="{EB96D462-0798-4F2A-A2A8-8BDE27500008}" dt="2023-10-04T02:55:31.554" v="370"/>
          <ac:spMkLst>
            <pc:docMk/>
            <pc:sldMk cId="3175191540" sldId="2155"/>
            <ac:spMk id="121" creationId="{BD4D2543-5708-42A2-8EE2-B377DF9385FB}"/>
          </ac:spMkLst>
        </pc:spChg>
      </pc:sldChg>
      <pc:sldChg chg="addSp delSp modSp add mod setBg">
        <pc:chgData name="Aurelien Domont" userId="6da7715ce44349b3" providerId="LiveId" clId="{EB96D462-0798-4F2A-A2A8-8BDE27500008}" dt="2023-10-05T02:29:16.215" v="974" actId="404"/>
        <pc:sldMkLst>
          <pc:docMk/>
          <pc:sldMk cId="1365513723" sldId="2490"/>
        </pc:sldMkLst>
        <pc:spChg chg="del">
          <ac:chgData name="Aurelien Domont" userId="6da7715ce44349b3" providerId="LiveId" clId="{EB96D462-0798-4F2A-A2A8-8BDE27500008}" dt="2023-09-27T02:43:21.710" v="38" actId="478"/>
          <ac:spMkLst>
            <pc:docMk/>
            <pc:sldMk cId="1365513723" sldId="2490"/>
            <ac:spMk id="4" creationId="{450DED1D-7433-0881-7109-87D0309E6207}"/>
          </ac:spMkLst>
        </pc:spChg>
        <pc:spChg chg="add mod">
          <ac:chgData name="Aurelien Domont" userId="6da7715ce44349b3" providerId="LiveId" clId="{EB96D462-0798-4F2A-A2A8-8BDE27500008}" dt="2023-10-04T03:21:27.296" v="912"/>
          <ac:spMkLst>
            <pc:docMk/>
            <pc:sldMk cId="1365513723" sldId="2490"/>
            <ac:spMk id="4" creationId="{F47EC9E1-D571-DCB8-281F-07A1F16F97F5}"/>
          </ac:spMkLst>
        </pc:spChg>
        <pc:spChg chg="add mod">
          <ac:chgData name="Aurelien Domont" userId="6da7715ce44349b3" providerId="LiveId" clId="{EB96D462-0798-4F2A-A2A8-8BDE27500008}" dt="2023-10-04T03:21:27.296" v="912"/>
          <ac:spMkLst>
            <pc:docMk/>
            <pc:sldMk cId="1365513723" sldId="2490"/>
            <ac:spMk id="5" creationId="{E09F208B-CDAD-0BF1-66BF-42E91B1E502A}"/>
          </ac:spMkLst>
        </pc:spChg>
        <pc:spChg chg="del">
          <ac:chgData name="Aurelien Domont" userId="6da7715ce44349b3" providerId="LiveId" clId="{EB96D462-0798-4F2A-A2A8-8BDE27500008}" dt="2023-09-27T02:43:21.710" v="38" actId="478"/>
          <ac:spMkLst>
            <pc:docMk/>
            <pc:sldMk cId="1365513723" sldId="2490"/>
            <ac:spMk id="5" creationId="{E6F70B8F-713B-296D-0492-8993208F7402}"/>
          </ac:spMkLst>
        </pc:spChg>
        <pc:spChg chg="del">
          <ac:chgData name="Aurelien Domont" userId="6da7715ce44349b3" providerId="LiveId" clId="{EB96D462-0798-4F2A-A2A8-8BDE27500008}" dt="2023-09-27T02:43:21.710" v="38" actId="478"/>
          <ac:spMkLst>
            <pc:docMk/>
            <pc:sldMk cId="1365513723" sldId="2490"/>
            <ac:spMk id="6" creationId="{3C7E915A-0CF2-A92C-C7DF-3FA9E5CAE3BC}"/>
          </ac:spMkLst>
        </pc:spChg>
        <pc:spChg chg="add mod">
          <ac:chgData name="Aurelien Domont" userId="6da7715ce44349b3" providerId="LiveId" clId="{EB96D462-0798-4F2A-A2A8-8BDE27500008}" dt="2023-10-04T03:21:27.296" v="912"/>
          <ac:spMkLst>
            <pc:docMk/>
            <pc:sldMk cId="1365513723" sldId="2490"/>
            <ac:spMk id="6" creationId="{9AA3ACB1-B042-0D62-0BFC-34FDDDC57BE7}"/>
          </ac:spMkLst>
        </pc:spChg>
        <pc:spChg chg="del">
          <ac:chgData name="Aurelien Domont" userId="6da7715ce44349b3" providerId="LiveId" clId="{EB96D462-0798-4F2A-A2A8-8BDE27500008}" dt="2023-09-27T02:43:21.710" v="38" actId="478"/>
          <ac:spMkLst>
            <pc:docMk/>
            <pc:sldMk cId="1365513723" sldId="2490"/>
            <ac:spMk id="7" creationId="{6D4B381E-B31C-4A84-282E-9706A4A2593A}"/>
          </ac:spMkLst>
        </pc:spChg>
        <pc:spChg chg="add mod">
          <ac:chgData name="Aurelien Domont" userId="6da7715ce44349b3" providerId="LiveId" clId="{EB96D462-0798-4F2A-A2A8-8BDE27500008}" dt="2023-10-04T03:21:27.296" v="912"/>
          <ac:spMkLst>
            <pc:docMk/>
            <pc:sldMk cId="1365513723" sldId="2490"/>
            <ac:spMk id="7" creationId="{80BE80FF-D226-4F65-0AD5-CA2FE19D72EF}"/>
          </ac:spMkLst>
        </pc:spChg>
        <pc:spChg chg="add mod">
          <ac:chgData name="Aurelien Domont" userId="6da7715ce44349b3" providerId="LiveId" clId="{EB96D462-0798-4F2A-A2A8-8BDE27500008}" dt="2023-10-04T03:21:27.296" v="912"/>
          <ac:spMkLst>
            <pc:docMk/>
            <pc:sldMk cId="1365513723" sldId="2490"/>
            <ac:spMk id="8" creationId="{C5AA446D-5F27-5BDF-AA25-7F993F9A56AE}"/>
          </ac:spMkLst>
        </pc:spChg>
        <pc:spChg chg="del">
          <ac:chgData name="Aurelien Domont" userId="6da7715ce44349b3" providerId="LiveId" clId="{EB96D462-0798-4F2A-A2A8-8BDE27500008}" dt="2023-09-27T02:43:21.710" v="38" actId="478"/>
          <ac:spMkLst>
            <pc:docMk/>
            <pc:sldMk cId="1365513723" sldId="2490"/>
            <ac:spMk id="8" creationId="{F08FC16F-3AC8-20C1-5A53-FBA2855D71C3}"/>
          </ac:spMkLst>
        </pc:spChg>
        <pc:spChg chg="add mod">
          <ac:chgData name="Aurelien Domont" userId="6da7715ce44349b3" providerId="LiveId" clId="{EB96D462-0798-4F2A-A2A8-8BDE27500008}" dt="2023-10-04T03:21:27.296" v="912"/>
          <ac:spMkLst>
            <pc:docMk/>
            <pc:sldMk cId="1365513723" sldId="2490"/>
            <ac:spMk id="9" creationId="{618EEFA5-518D-9819-2148-91275D202B02}"/>
          </ac:spMkLst>
        </pc:spChg>
        <pc:spChg chg="del">
          <ac:chgData name="Aurelien Domont" userId="6da7715ce44349b3" providerId="LiveId" clId="{EB96D462-0798-4F2A-A2A8-8BDE27500008}" dt="2023-09-27T02:43:21.710" v="38" actId="478"/>
          <ac:spMkLst>
            <pc:docMk/>
            <pc:sldMk cId="1365513723" sldId="2490"/>
            <ac:spMk id="9" creationId="{88F4B7D4-CB7E-2C60-3829-A5673734C2FD}"/>
          </ac:spMkLst>
        </pc:spChg>
        <pc:spChg chg="del">
          <ac:chgData name="Aurelien Domont" userId="6da7715ce44349b3" providerId="LiveId" clId="{EB96D462-0798-4F2A-A2A8-8BDE27500008}" dt="2023-09-27T02:43:21.710" v="38" actId="478"/>
          <ac:spMkLst>
            <pc:docMk/>
            <pc:sldMk cId="1365513723" sldId="2490"/>
            <ac:spMk id="11" creationId="{E76C7D9B-D333-C900-5988-9332031093B0}"/>
          </ac:spMkLst>
        </pc:spChg>
        <pc:spChg chg="del">
          <ac:chgData name="Aurelien Domont" userId="6da7715ce44349b3" providerId="LiveId" clId="{EB96D462-0798-4F2A-A2A8-8BDE27500008}" dt="2023-09-27T02:43:21.710" v="38" actId="478"/>
          <ac:spMkLst>
            <pc:docMk/>
            <pc:sldMk cId="1365513723" sldId="2490"/>
            <ac:spMk id="12" creationId="{DA468448-2ED9-133E-044D-95AE7280DE63}"/>
          </ac:spMkLst>
        </pc:spChg>
        <pc:spChg chg="mod">
          <ac:chgData name="Aurelien Domont" userId="6da7715ce44349b3" providerId="LiveId" clId="{EB96D462-0798-4F2A-A2A8-8BDE27500008}" dt="2023-10-05T02:29:16.215" v="974" actId="404"/>
          <ac:spMkLst>
            <pc:docMk/>
            <pc:sldMk cId="1365513723" sldId="2490"/>
            <ac:spMk id="16" creationId="{6C2BB713-9637-4B9B-938F-E9768876782A}"/>
          </ac:spMkLst>
        </pc:spChg>
        <pc:spChg chg="add del mod">
          <ac:chgData name="Aurelien Domont" userId="6da7715ce44349b3" providerId="LiveId" clId="{EB96D462-0798-4F2A-A2A8-8BDE27500008}" dt="2023-10-04T03:21:24.963" v="910" actId="478"/>
          <ac:spMkLst>
            <pc:docMk/>
            <pc:sldMk cId="1365513723" sldId="2490"/>
            <ac:spMk id="21" creationId="{A4C899F7-F797-360B-7BE3-3233092BBFBF}"/>
          </ac:spMkLst>
        </pc:spChg>
        <pc:spChg chg="add del mod">
          <ac:chgData name="Aurelien Domont" userId="6da7715ce44349b3" providerId="LiveId" clId="{EB96D462-0798-4F2A-A2A8-8BDE27500008}" dt="2023-10-04T03:21:24.963" v="910" actId="478"/>
          <ac:spMkLst>
            <pc:docMk/>
            <pc:sldMk cId="1365513723" sldId="2490"/>
            <ac:spMk id="22" creationId="{836DD2B3-569D-DAF5-3B26-72F40EB8A45D}"/>
          </ac:spMkLst>
        </pc:spChg>
        <pc:spChg chg="add del mod">
          <ac:chgData name="Aurelien Domont" userId="6da7715ce44349b3" providerId="LiveId" clId="{EB96D462-0798-4F2A-A2A8-8BDE27500008}" dt="2023-10-04T03:21:26.981" v="911" actId="478"/>
          <ac:spMkLst>
            <pc:docMk/>
            <pc:sldMk cId="1365513723" sldId="2490"/>
            <ac:spMk id="23" creationId="{976234B0-6028-CDBC-0F19-7F8D922BEF74}"/>
          </ac:spMkLst>
        </pc:spChg>
        <pc:spChg chg="add del mod">
          <ac:chgData name="Aurelien Domont" userId="6da7715ce44349b3" providerId="LiveId" clId="{EB96D462-0798-4F2A-A2A8-8BDE27500008}" dt="2023-10-04T03:21:24.963" v="910" actId="478"/>
          <ac:spMkLst>
            <pc:docMk/>
            <pc:sldMk cId="1365513723" sldId="2490"/>
            <ac:spMk id="24" creationId="{EF727CA3-9AFF-9DD3-7097-55BADF7DBC4A}"/>
          </ac:spMkLst>
        </pc:spChg>
        <pc:spChg chg="add del mod">
          <ac:chgData name="Aurelien Domont" userId="6da7715ce44349b3" providerId="LiveId" clId="{EB96D462-0798-4F2A-A2A8-8BDE27500008}" dt="2023-10-04T03:21:24.963" v="910" actId="478"/>
          <ac:spMkLst>
            <pc:docMk/>
            <pc:sldMk cId="1365513723" sldId="2490"/>
            <ac:spMk id="25" creationId="{2B8264B2-8392-29D7-D757-721614C05D37}"/>
          </ac:spMkLst>
        </pc:spChg>
        <pc:spChg chg="add del mod">
          <ac:chgData name="Aurelien Domont" userId="6da7715ce44349b3" providerId="LiveId" clId="{EB96D462-0798-4F2A-A2A8-8BDE27500008}" dt="2023-10-04T03:21:24.963" v="910" actId="478"/>
          <ac:spMkLst>
            <pc:docMk/>
            <pc:sldMk cId="1365513723" sldId="2490"/>
            <ac:spMk id="26" creationId="{F22BD517-3AFE-15BB-253C-9B867D543EF2}"/>
          </ac:spMkLst>
        </pc:spChg>
        <pc:spChg chg="add del mod">
          <ac:chgData name="Aurelien Domont" userId="6da7715ce44349b3" providerId="LiveId" clId="{EB96D462-0798-4F2A-A2A8-8BDE27500008}" dt="2023-10-04T03:21:24.963" v="910" actId="478"/>
          <ac:spMkLst>
            <pc:docMk/>
            <pc:sldMk cId="1365513723" sldId="2490"/>
            <ac:spMk id="27" creationId="{8E393A1D-4E82-1E6F-FC54-DA1F9B3F60DA}"/>
          </ac:spMkLst>
        </pc:spChg>
        <pc:spChg chg="add del mod">
          <ac:chgData name="Aurelien Domont" userId="6da7715ce44349b3" providerId="LiveId" clId="{EB96D462-0798-4F2A-A2A8-8BDE27500008}" dt="2023-10-04T03:21:24.963" v="910" actId="478"/>
          <ac:spMkLst>
            <pc:docMk/>
            <pc:sldMk cId="1365513723" sldId="2490"/>
            <ac:spMk id="28" creationId="{EE1D22FD-8B47-A27E-4A2F-AFBB7EB6DCEF}"/>
          </ac:spMkLst>
        </pc:spChg>
        <pc:spChg chg="add del mod">
          <ac:chgData name="Aurelien Domont" userId="6da7715ce44349b3" providerId="LiveId" clId="{EB96D462-0798-4F2A-A2A8-8BDE27500008}" dt="2023-10-04T03:21:24.963" v="910" actId="478"/>
          <ac:spMkLst>
            <pc:docMk/>
            <pc:sldMk cId="1365513723" sldId="2490"/>
            <ac:spMk id="33" creationId="{47AC60D0-5D53-61A5-81BF-DAE53FC1966A}"/>
          </ac:spMkLst>
        </pc:spChg>
        <pc:spChg chg="add del mod">
          <ac:chgData name="Aurelien Domont" userId="6da7715ce44349b3" providerId="LiveId" clId="{EB96D462-0798-4F2A-A2A8-8BDE27500008}" dt="2023-10-04T03:21:24.963" v="910" actId="478"/>
          <ac:spMkLst>
            <pc:docMk/>
            <pc:sldMk cId="1365513723" sldId="2490"/>
            <ac:spMk id="34" creationId="{32290619-8481-6C4B-80C1-71A11A054F52}"/>
          </ac:spMkLst>
        </pc:spChg>
        <pc:spChg chg="add del mod">
          <ac:chgData name="Aurelien Domont" userId="6da7715ce44349b3" providerId="LiveId" clId="{EB96D462-0798-4F2A-A2A8-8BDE27500008}" dt="2023-10-04T03:21:24.963" v="910" actId="478"/>
          <ac:spMkLst>
            <pc:docMk/>
            <pc:sldMk cId="1365513723" sldId="2490"/>
            <ac:spMk id="35" creationId="{5C3EE464-91C0-AC78-C71D-D37A57FCDCCB}"/>
          </ac:spMkLst>
        </pc:spChg>
        <pc:spChg chg="add del mod">
          <ac:chgData name="Aurelien Domont" userId="6da7715ce44349b3" providerId="LiveId" clId="{EB96D462-0798-4F2A-A2A8-8BDE27500008}" dt="2023-10-04T03:21:24.963" v="910" actId="478"/>
          <ac:spMkLst>
            <pc:docMk/>
            <pc:sldMk cId="1365513723" sldId="2490"/>
            <ac:spMk id="36" creationId="{773CE54D-A7E8-281A-2394-5271B5E6FFF6}"/>
          </ac:spMkLst>
        </pc:spChg>
        <pc:spChg chg="add del mod">
          <ac:chgData name="Aurelien Domont" userId="6da7715ce44349b3" providerId="LiveId" clId="{EB96D462-0798-4F2A-A2A8-8BDE27500008}" dt="2023-10-04T03:21:24.963" v="910" actId="478"/>
          <ac:spMkLst>
            <pc:docMk/>
            <pc:sldMk cId="1365513723" sldId="2490"/>
            <ac:spMk id="37" creationId="{84D2A5BD-BA3E-2D27-FB25-E91E6CFC409C}"/>
          </ac:spMkLst>
        </pc:spChg>
        <pc:spChg chg="add del mod">
          <ac:chgData name="Aurelien Domont" userId="6da7715ce44349b3" providerId="LiveId" clId="{EB96D462-0798-4F2A-A2A8-8BDE27500008}" dt="2023-10-04T03:21:24.963" v="910" actId="478"/>
          <ac:spMkLst>
            <pc:docMk/>
            <pc:sldMk cId="1365513723" sldId="2490"/>
            <ac:spMk id="38" creationId="{B07E874D-D49B-C0DA-42FE-F14449095771}"/>
          </ac:spMkLst>
        </pc:spChg>
        <pc:spChg chg="del">
          <ac:chgData name="Aurelien Domont" userId="6da7715ce44349b3" providerId="LiveId" clId="{EB96D462-0798-4F2A-A2A8-8BDE27500008}" dt="2023-09-27T02:43:21.710" v="38" actId="478"/>
          <ac:spMkLst>
            <pc:docMk/>
            <pc:sldMk cId="1365513723" sldId="2490"/>
            <ac:spMk id="39" creationId="{77BF7716-E4CC-45BB-A96A-08CAB55A0504}"/>
          </ac:spMkLst>
        </pc:spChg>
        <pc:spChg chg="del">
          <ac:chgData name="Aurelien Domont" userId="6da7715ce44349b3" providerId="LiveId" clId="{EB96D462-0798-4F2A-A2A8-8BDE27500008}" dt="2023-09-27T02:43:21.710" v="38" actId="478"/>
          <ac:spMkLst>
            <pc:docMk/>
            <pc:sldMk cId="1365513723" sldId="2490"/>
            <ac:spMk id="40" creationId="{3B426556-05C0-42CE-8DB9-124DF9B75346}"/>
          </ac:spMkLst>
        </pc:spChg>
        <pc:spChg chg="add mod">
          <ac:chgData name="Aurelien Domont" userId="6da7715ce44349b3" providerId="LiveId" clId="{EB96D462-0798-4F2A-A2A8-8BDE27500008}" dt="2023-10-04T03:21:27.296" v="912"/>
          <ac:spMkLst>
            <pc:docMk/>
            <pc:sldMk cId="1365513723" sldId="2490"/>
            <ac:spMk id="41" creationId="{001EF177-FE2C-521C-58D9-E7F26A0175AA}"/>
          </ac:spMkLst>
        </pc:spChg>
        <pc:spChg chg="del">
          <ac:chgData name="Aurelien Domont" userId="6da7715ce44349b3" providerId="LiveId" clId="{EB96D462-0798-4F2A-A2A8-8BDE27500008}" dt="2023-09-27T02:43:21.710" v="38" actId="478"/>
          <ac:spMkLst>
            <pc:docMk/>
            <pc:sldMk cId="1365513723" sldId="2490"/>
            <ac:spMk id="41" creationId="{588C612C-CB65-4EDF-95E8-5C3DC44FF80B}"/>
          </ac:spMkLst>
        </pc:spChg>
        <pc:spChg chg="add del mod">
          <ac:chgData name="Aurelien Domont" userId="6da7715ce44349b3" providerId="LiveId" clId="{EB96D462-0798-4F2A-A2A8-8BDE27500008}" dt="2023-10-04T03:21:24.963" v="910" actId="478"/>
          <ac:spMkLst>
            <pc:docMk/>
            <pc:sldMk cId="1365513723" sldId="2490"/>
            <ac:spMk id="42" creationId="{C09B3E70-C4A4-5A60-61D5-DB48DC442EA1}"/>
          </ac:spMkLst>
        </pc:spChg>
        <pc:spChg chg="add mod">
          <ac:chgData name="Aurelien Domont" userId="6da7715ce44349b3" providerId="LiveId" clId="{EB96D462-0798-4F2A-A2A8-8BDE27500008}" dt="2023-10-04T03:21:27.296" v="912"/>
          <ac:spMkLst>
            <pc:docMk/>
            <pc:sldMk cId="1365513723" sldId="2490"/>
            <ac:spMk id="43" creationId="{329506BA-B2D3-549B-6083-C86FEB6D75F9}"/>
          </ac:spMkLst>
        </pc:spChg>
        <pc:spChg chg="del">
          <ac:chgData name="Aurelien Domont" userId="6da7715ce44349b3" providerId="LiveId" clId="{EB96D462-0798-4F2A-A2A8-8BDE27500008}" dt="2023-09-27T02:43:21.710" v="38" actId="478"/>
          <ac:spMkLst>
            <pc:docMk/>
            <pc:sldMk cId="1365513723" sldId="2490"/>
            <ac:spMk id="43" creationId="{9189A66D-4CDE-45D3-A8CE-120CF9982D2B}"/>
          </ac:spMkLst>
        </pc:spChg>
        <pc:spChg chg="add mod">
          <ac:chgData name="Aurelien Domont" userId="6da7715ce44349b3" providerId="LiveId" clId="{EB96D462-0798-4F2A-A2A8-8BDE27500008}" dt="2023-10-04T03:21:27.296" v="912"/>
          <ac:spMkLst>
            <pc:docMk/>
            <pc:sldMk cId="1365513723" sldId="2490"/>
            <ac:spMk id="44" creationId="{0783BC4C-6800-92BA-F301-890DD3B04938}"/>
          </ac:spMkLst>
        </pc:spChg>
        <pc:spChg chg="del">
          <ac:chgData name="Aurelien Domont" userId="6da7715ce44349b3" providerId="LiveId" clId="{EB96D462-0798-4F2A-A2A8-8BDE27500008}" dt="2023-09-27T02:43:21.710" v="38" actId="478"/>
          <ac:spMkLst>
            <pc:docMk/>
            <pc:sldMk cId="1365513723" sldId="2490"/>
            <ac:spMk id="44" creationId="{F6F5E6D7-A22E-48F4-9130-B455BD3143E4}"/>
          </ac:spMkLst>
        </pc:spChg>
        <pc:spChg chg="add mod">
          <ac:chgData name="Aurelien Domont" userId="6da7715ce44349b3" providerId="LiveId" clId="{EB96D462-0798-4F2A-A2A8-8BDE27500008}" dt="2023-10-04T03:21:27.296" v="912"/>
          <ac:spMkLst>
            <pc:docMk/>
            <pc:sldMk cId="1365513723" sldId="2490"/>
            <ac:spMk id="45" creationId="{7019E910-391B-9157-B6A7-1729AA15C7A8}"/>
          </ac:spMkLst>
        </pc:spChg>
        <pc:spChg chg="del">
          <ac:chgData name="Aurelien Domont" userId="6da7715ce44349b3" providerId="LiveId" clId="{EB96D462-0798-4F2A-A2A8-8BDE27500008}" dt="2023-09-27T02:43:21.710" v="38" actId="478"/>
          <ac:spMkLst>
            <pc:docMk/>
            <pc:sldMk cId="1365513723" sldId="2490"/>
            <ac:spMk id="45" creationId="{CB6CE85F-CC10-481F-8446-AAFAF9538B3A}"/>
          </ac:spMkLst>
        </pc:spChg>
        <pc:spChg chg="add mod">
          <ac:chgData name="Aurelien Domont" userId="6da7715ce44349b3" providerId="LiveId" clId="{EB96D462-0798-4F2A-A2A8-8BDE27500008}" dt="2023-10-04T03:21:27.296" v="912"/>
          <ac:spMkLst>
            <pc:docMk/>
            <pc:sldMk cId="1365513723" sldId="2490"/>
            <ac:spMk id="46" creationId="{39092331-27A9-533D-0E68-323856695E64}"/>
          </ac:spMkLst>
        </pc:spChg>
        <pc:spChg chg="del">
          <ac:chgData name="Aurelien Domont" userId="6da7715ce44349b3" providerId="LiveId" clId="{EB96D462-0798-4F2A-A2A8-8BDE27500008}" dt="2023-09-27T02:43:21.710" v="38" actId="478"/>
          <ac:spMkLst>
            <pc:docMk/>
            <pc:sldMk cId="1365513723" sldId="2490"/>
            <ac:spMk id="46" creationId="{F5350A74-F832-4786-AC3A-C3E1408947E8}"/>
          </ac:spMkLst>
        </pc:spChg>
        <pc:spChg chg="del">
          <ac:chgData name="Aurelien Domont" userId="6da7715ce44349b3" providerId="LiveId" clId="{EB96D462-0798-4F2A-A2A8-8BDE27500008}" dt="2023-09-27T02:43:21.710" v="38" actId="478"/>
          <ac:spMkLst>
            <pc:docMk/>
            <pc:sldMk cId="1365513723" sldId="2490"/>
            <ac:spMk id="47" creationId="{75B0660F-9007-45EB-B48F-4147D7445E71}"/>
          </ac:spMkLst>
        </pc:spChg>
        <pc:spChg chg="add mod">
          <ac:chgData name="Aurelien Domont" userId="6da7715ce44349b3" providerId="LiveId" clId="{EB96D462-0798-4F2A-A2A8-8BDE27500008}" dt="2023-10-04T03:21:27.296" v="912"/>
          <ac:spMkLst>
            <pc:docMk/>
            <pc:sldMk cId="1365513723" sldId="2490"/>
            <ac:spMk id="47" creationId="{EF63933C-46E6-0CE4-5399-181BB46C0DF2}"/>
          </ac:spMkLst>
        </pc:spChg>
        <pc:spChg chg="del">
          <ac:chgData name="Aurelien Domont" userId="6da7715ce44349b3" providerId="LiveId" clId="{EB96D462-0798-4F2A-A2A8-8BDE27500008}" dt="2023-09-27T02:43:21.710" v="38" actId="478"/>
          <ac:spMkLst>
            <pc:docMk/>
            <pc:sldMk cId="1365513723" sldId="2490"/>
            <ac:spMk id="48" creationId="{B3D120D9-049C-4562-A96C-9D4A8BE7DDBA}"/>
          </ac:spMkLst>
        </pc:spChg>
        <pc:spChg chg="add mod">
          <ac:chgData name="Aurelien Domont" userId="6da7715ce44349b3" providerId="LiveId" clId="{EB96D462-0798-4F2A-A2A8-8BDE27500008}" dt="2023-10-04T03:21:27.296" v="912"/>
          <ac:spMkLst>
            <pc:docMk/>
            <pc:sldMk cId="1365513723" sldId="2490"/>
            <ac:spMk id="48" creationId="{B7D05AE7-A1EB-5168-C321-142530178A40}"/>
          </ac:spMkLst>
        </pc:spChg>
        <pc:spChg chg="add mod">
          <ac:chgData name="Aurelien Domont" userId="6da7715ce44349b3" providerId="LiveId" clId="{EB96D462-0798-4F2A-A2A8-8BDE27500008}" dt="2023-10-04T03:21:27.296" v="912"/>
          <ac:spMkLst>
            <pc:docMk/>
            <pc:sldMk cId="1365513723" sldId="2490"/>
            <ac:spMk id="49" creationId="{B72B0AB9-DEAA-CD66-31D3-5DE0F1905B7E}"/>
          </ac:spMkLst>
        </pc:spChg>
        <pc:spChg chg="del">
          <ac:chgData name="Aurelien Domont" userId="6da7715ce44349b3" providerId="LiveId" clId="{EB96D462-0798-4F2A-A2A8-8BDE27500008}" dt="2023-09-27T02:43:21.710" v="38" actId="478"/>
          <ac:spMkLst>
            <pc:docMk/>
            <pc:sldMk cId="1365513723" sldId="2490"/>
            <ac:spMk id="49" creationId="{E4D4BC6E-392D-4DA1-A71F-317910F8195E}"/>
          </ac:spMkLst>
        </pc:spChg>
        <pc:spChg chg="add del mod">
          <ac:chgData name="Aurelien Domont" userId="6da7715ce44349b3" providerId="LiveId" clId="{EB96D462-0798-4F2A-A2A8-8BDE27500008}" dt="2023-10-04T03:21:24.963" v="910" actId="478"/>
          <ac:spMkLst>
            <pc:docMk/>
            <pc:sldMk cId="1365513723" sldId="2490"/>
            <ac:spMk id="50" creationId="{4BC413C3-CB70-0E5D-05AA-28276E2FC1F9}"/>
          </ac:spMkLst>
        </pc:spChg>
        <pc:spChg chg="add del mod">
          <ac:chgData name="Aurelien Domont" userId="6da7715ce44349b3" providerId="LiveId" clId="{EB96D462-0798-4F2A-A2A8-8BDE27500008}" dt="2023-10-04T03:21:24.963" v="910" actId="478"/>
          <ac:spMkLst>
            <pc:docMk/>
            <pc:sldMk cId="1365513723" sldId="2490"/>
            <ac:spMk id="51" creationId="{EB9893AE-7331-0F89-390B-A9F9BDFD7A9D}"/>
          </ac:spMkLst>
        </pc:spChg>
        <pc:spChg chg="add del mod">
          <ac:chgData name="Aurelien Domont" userId="6da7715ce44349b3" providerId="LiveId" clId="{EB96D462-0798-4F2A-A2A8-8BDE27500008}" dt="2023-10-04T03:21:24.963" v="910" actId="478"/>
          <ac:spMkLst>
            <pc:docMk/>
            <pc:sldMk cId="1365513723" sldId="2490"/>
            <ac:spMk id="52" creationId="{3D178FC9-986E-99C9-DFEE-8DBB7B69AF63}"/>
          </ac:spMkLst>
        </pc:spChg>
        <pc:spChg chg="add del mod">
          <ac:chgData name="Aurelien Domont" userId="6da7715ce44349b3" providerId="LiveId" clId="{EB96D462-0798-4F2A-A2A8-8BDE27500008}" dt="2023-10-04T03:21:24.963" v="910" actId="478"/>
          <ac:spMkLst>
            <pc:docMk/>
            <pc:sldMk cId="1365513723" sldId="2490"/>
            <ac:spMk id="53" creationId="{B36E3423-5664-1B1E-D434-CADB24E61D6C}"/>
          </ac:spMkLst>
        </pc:spChg>
        <pc:spChg chg="add del mod">
          <ac:chgData name="Aurelien Domont" userId="6da7715ce44349b3" providerId="LiveId" clId="{EB96D462-0798-4F2A-A2A8-8BDE27500008}" dt="2023-10-04T03:21:24.963" v="910" actId="478"/>
          <ac:spMkLst>
            <pc:docMk/>
            <pc:sldMk cId="1365513723" sldId="2490"/>
            <ac:spMk id="54" creationId="{6C5B0D5D-FB38-D87C-23BA-60E897F13AD3}"/>
          </ac:spMkLst>
        </pc:spChg>
        <pc:spChg chg="add del mod">
          <ac:chgData name="Aurelien Domont" userId="6da7715ce44349b3" providerId="LiveId" clId="{EB96D462-0798-4F2A-A2A8-8BDE27500008}" dt="2023-10-04T03:21:24.963" v="910" actId="478"/>
          <ac:spMkLst>
            <pc:docMk/>
            <pc:sldMk cId="1365513723" sldId="2490"/>
            <ac:spMk id="55" creationId="{72BCB760-EAE3-B1A3-CB08-B4FCD5FD418F}"/>
          </ac:spMkLst>
        </pc:spChg>
        <pc:spChg chg="add del mod">
          <ac:chgData name="Aurelien Domont" userId="6da7715ce44349b3" providerId="LiveId" clId="{EB96D462-0798-4F2A-A2A8-8BDE27500008}" dt="2023-10-04T03:21:24.963" v="910" actId="478"/>
          <ac:spMkLst>
            <pc:docMk/>
            <pc:sldMk cId="1365513723" sldId="2490"/>
            <ac:spMk id="56" creationId="{CF63FB9B-6A4E-79EA-890B-68B94228B9A8}"/>
          </ac:spMkLst>
        </pc:spChg>
        <pc:spChg chg="add del mod">
          <ac:chgData name="Aurelien Domont" userId="6da7715ce44349b3" providerId="LiveId" clId="{EB96D462-0798-4F2A-A2A8-8BDE27500008}" dt="2023-10-04T03:21:24.963" v="910" actId="478"/>
          <ac:spMkLst>
            <pc:docMk/>
            <pc:sldMk cId="1365513723" sldId="2490"/>
            <ac:spMk id="57" creationId="{C8B0F209-7C4D-885D-1538-A9B1D97992A9}"/>
          </ac:spMkLst>
        </pc:spChg>
        <pc:spChg chg="add del mod">
          <ac:chgData name="Aurelien Domont" userId="6da7715ce44349b3" providerId="LiveId" clId="{EB96D462-0798-4F2A-A2A8-8BDE27500008}" dt="2023-10-04T03:21:24.963" v="910" actId="478"/>
          <ac:spMkLst>
            <pc:docMk/>
            <pc:sldMk cId="1365513723" sldId="2490"/>
            <ac:spMk id="58" creationId="{D6AAAA26-4BE8-266B-2FE0-590271E41AD8}"/>
          </ac:spMkLst>
        </pc:spChg>
        <pc:spChg chg="add del mod">
          <ac:chgData name="Aurelien Domont" userId="6da7715ce44349b3" providerId="LiveId" clId="{EB96D462-0798-4F2A-A2A8-8BDE27500008}" dt="2023-10-04T03:21:24.963" v="910" actId="478"/>
          <ac:spMkLst>
            <pc:docMk/>
            <pc:sldMk cId="1365513723" sldId="2490"/>
            <ac:spMk id="59" creationId="{5F5664DC-62CA-BE0B-70F0-BC8FB20520AF}"/>
          </ac:spMkLst>
        </pc:spChg>
        <pc:spChg chg="add del mod">
          <ac:chgData name="Aurelien Domont" userId="6da7715ce44349b3" providerId="LiveId" clId="{EB96D462-0798-4F2A-A2A8-8BDE27500008}" dt="2023-10-04T03:21:24.963" v="910" actId="478"/>
          <ac:spMkLst>
            <pc:docMk/>
            <pc:sldMk cId="1365513723" sldId="2490"/>
            <ac:spMk id="60" creationId="{06BFDB1D-9806-5225-FEC8-86D993D36D7E}"/>
          </ac:spMkLst>
        </pc:spChg>
        <pc:spChg chg="add del mod">
          <ac:chgData name="Aurelien Domont" userId="6da7715ce44349b3" providerId="LiveId" clId="{EB96D462-0798-4F2A-A2A8-8BDE27500008}" dt="2023-10-04T03:21:24.963" v="910" actId="478"/>
          <ac:spMkLst>
            <pc:docMk/>
            <pc:sldMk cId="1365513723" sldId="2490"/>
            <ac:spMk id="61" creationId="{BA4A7DF6-DB5A-DFA9-7109-E0E822A1BAC7}"/>
          </ac:spMkLst>
        </pc:spChg>
        <pc:spChg chg="add del mod">
          <ac:chgData name="Aurelien Domont" userId="6da7715ce44349b3" providerId="LiveId" clId="{EB96D462-0798-4F2A-A2A8-8BDE27500008}" dt="2023-10-04T03:21:24.963" v="910" actId="478"/>
          <ac:spMkLst>
            <pc:docMk/>
            <pc:sldMk cId="1365513723" sldId="2490"/>
            <ac:spMk id="62" creationId="{EF367022-C21E-45D7-A109-11F1BFC13F8D}"/>
          </ac:spMkLst>
        </pc:spChg>
        <pc:spChg chg="add del mod">
          <ac:chgData name="Aurelien Domont" userId="6da7715ce44349b3" providerId="LiveId" clId="{EB96D462-0798-4F2A-A2A8-8BDE27500008}" dt="2023-10-04T03:21:24.963" v="910" actId="478"/>
          <ac:spMkLst>
            <pc:docMk/>
            <pc:sldMk cId="1365513723" sldId="2490"/>
            <ac:spMk id="63" creationId="{1AEC2EB3-07A0-EC8B-176B-72697C819BBA}"/>
          </ac:spMkLst>
        </pc:spChg>
        <pc:spChg chg="add del mod">
          <ac:chgData name="Aurelien Domont" userId="6da7715ce44349b3" providerId="LiveId" clId="{EB96D462-0798-4F2A-A2A8-8BDE27500008}" dt="2023-10-04T03:21:24.963" v="910" actId="478"/>
          <ac:spMkLst>
            <pc:docMk/>
            <pc:sldMk cId="1365513723" sldId="2490"/>
            <ac:spMk id="64" creationId="{FEFBD46F-3ACD-2F96-ED19-7297CDAC91E1}"/>
          </ac:spMkLst>
        </pc:spChg>
        <pc:spChg chg="add del mod">
          <ac:chgData name="Aurelien Domont" userId="6da7715ce44349b3" providerId="LiveId" clId="{EB96D462-0798-4F2A-A2A8-8BDE27500008}" dt="2023-10-04T03:21:24.963" v="910" actId="478"/>
          <ac:spMkLst>
            <pc:docMk/>
            <pc:sldMk cId="1365513723" sldId="2490"/>
            <ac:spMk id="65" creationId="{F1E5049B-C671-A26C-BD89-3E9F2B1D214C}"/>
          </ac:spMkLst>
        </pc:spChg>
        <pc:spChg chg="add del mod">
          <ac:chgData name="Aurelien Domont" userId="6da7715ce44349b3" providerId="LiveId" clId="{EB96D462-0798-4F2A-A2A8-8BDE27500008}" dt="2023-10-04T03:21:24.963" v="910" actId="478"/>
          <ac:spMkLst>
            <pc:docMk/>
            <pc:sldMk cId="1365513723" sldId="2490"/>
            <ac:spMk id="66" creationId="{F6FC8B8D-DF66-BE3F-705E-C91C0B305DE4}"/>
          </ac:spMkLst>
        </pc:spChg>
        <pc:spChg chg="add del mod">
          <ac:chgData name="Aurelien Domont" userId="6da7715ce44349b3" providerId="LiveId" clId="{EB96D462-0798-4F2A-A2A8-8BDE27500008}" dt="2023-10-04T03:21:24.963" v="910" actId="478"/>
          <ac:spMkLst>
            <pc:docMk/>
            <pc:sldMk cId="1365513723" sldId="2490"/>
            <ac:spMk id="67" creationId="{1C2BDD49-E8A6-8C49-E830-B17216340304}"/>
          </ac:spMkLst>
        </pc:spChg>
        <pc:spChg chg="add del mod">
          <ac:chgData name="Aurelien Domont" userId="6da7715ce44349b3" providerId="LiveId" clId="{EB96D462-0798-4F2A-A2A8-8BDE27500008}" dt="2023-10-04T03:21:24.963" v="910" actId="478"/>
          <ac:spMkLst>
            <pc:docMk/>
            <pc:sldMk cId="1365513723" sldId="2490"/>
            <ac:spMk id="68" creationId="{84B69A2B-9F02-7208-BDD2-6B11B9C4235A}"/>
          </ac:spMkLst>
        </pc:spChg>
        <pc:spChg chg="add del mod">
          <ac:chgData name="Aurelien Domont" userId="6da7715ce44349b3" providerId="LiveId" clId="{EB96D462-0798-4F2A-A2A8-8BDE27500008}" dt="2023-10-04T03:21:24.963" v="910" actId="478"/>
          <ac:spMkLst>
            <pc:docMk/>
            <pc:sldMk cId="1365513723" sldId="2490"/>
            <ac:spMk id="69" creationId="{197516EA-28E2-C220-ACC2-D87E239DC170}"/>
          </ac:spMkLst>
        </pc:spChg>
        <pc:spChg chg="add del mod">
          <ac:chgData name="Aurelien Domont" userId="6da7715ce44349b3" providerId="LiveId" clId="{EB96D462-0798-4F2A-A2A8-8BDE27500008}" dt="2023-10-04T03:21:24.963" v="910" actId="478"/>
          <ac:spMkLst>
            <pc:docMk/>
            <pc:sldMk cId="1365513723" sldId="2490"/>
            <ac:spMk id="70" creationId="{435A702F-F2C1-946C-684C-B2A3F28678F9}"/>
          </ac:spMkLst>
        </pc:spChg>
        <pc:spChg chg="add del mod">
          <ac:chgData name="Aurelien Domont" userId="6da7715ce44349b3" providerId="LiveId" clId="{EB96D462-0798-4F2A-A2A8-8BDE27500008}" dt="2023-10-04T03:21:24.963" v="910" actId="478"/>
          <ac:spMkLst>
            <pc:docMk/>
            <pc:sldMk cId="1365513723" sldId="2490"/>
            <ac:spMk id="71" creationId="{014ACC12-F064-0625-CDD2-2BD38ABC6543}"/>
          </ac:spMkLst>
        </pc:spChg>
        <pc:spChg chg="add del mod">
          <ac:chgData name="Aurelien Domont" userId="6da7715ce44349b3" providerId="LiveId" clId="{EB96D462-0798-4F2A-A2A8-8BDE27500008}" dt="2023-10-04T03:21:24.963" v="910" actId="478"/>
          <ac:spMkLst>
            <pc:docMk/>
            <pc:sldMk cId="1365513723" sldId="2490"/>
            <ac:spMk id="72" creationId="{CDE5144D-B709-F09D-C29D-757836386E60}"/>
          </ac:spMkLst>
        </pc:spChg>
        <pc:spChg chg="add del mod">
          <ac:chgData name="Aurelien Domont" userId="6da7715ce44349b3" providerId="LiveId" clId="{EB96D462-0798-4F2A-A2A8-8BDE27500008}" dt="2023-10-04T03:21:24.963" v="910" actId="478"/>
          <ac:spMkLst>
            <pc:docMk/>
            <pc:sldMk cId="1365513723" sldId="2490"/>
            <ac:spMk id="73" creationId="{E7B91854-40A5-2463-862B-BF2CD5C324D8}"/>
          </ac:spMkLst>
        </pc:spChg>
        <pc:spChg chg="add del mod">
          <ac:chgData name="Aurelien Domont" userId="6da7715ce44349b3" providerId="LiveId" clId="{EB96D462-0798-4F2A-A2A8-8BDE27500008}" dt="2023-10-04T03:21:24.963" v="910" actId="478"/>
          <ac:spMkLst>
            <pc:docMk/>
            <pc:sldMk cId="1365513723" sldId="2490"/>
            <ac:spMk id="74" creationId="{C401AE7D-70B0-7237-8099-A67D73C4A660}"/>
          </ac:spMkLst>
        </pc:spChg>
        <pc:spChg chg="add del mod">
          <ac:chgData name="Aurelien Domont" userId="6da7715ce44349b3" providerId="LiveId" clId="{EB96D462-0798-4F2A-A2A8-8BDE27500008}" dt="2023-10-04T03:21:24.963" v="910" actId="478"/>
          <ac:spMkLst>
            <pc:docMk/>
            <pc:sldMk cId="1365513723" sldId="2490"/>
            <ac:spMk id="75" creationId="{09076087-AA88-6B40-3D05-74C917C1C385}"/>
          </ac:spMkLst>
        </pc:spChg>
        <pc:spChg chg="add del mod">
          <ac:chgData name="Aurelien Domont" userId="6da7715ce44349b3" providerId="LiveId" clId="{EB96D462-0798-4F2A-A2A8-8BDE27500008}" dt="2023-10-04T03:21:24.963" v="910" actId="478"/>
          <ac:spMkLst>
            <pc:docMk/>
            <pc:sldMk cId="1365513723" sldId="2490"/>
            <ac:spMk id="76" creationId="{E9A4C086-8B06-849A-F916-FBC63230C498}"/>
          </ac:spMkLst>
        </pc:spChg>
        <pc:spChg chg="add del mod">
          <ac:chgData name="Aurelien Domont" userId="6da7715ce44349b3" providerId="LiveId" clId="{EB96D462-0798-4F2A-A2A8-8BDE27500008}" dt="2023-10-04T03:21:24.963" v="910" actId="478"/>
          <ac:spMkLst>
            <pc:docMk/>
            <pc:sldMk cId="1365513723" sldId="2490"/>
            <ac:spMk id="77" creationId="{4FEE01F5-B4D4-FEE7-EF1D-5F98B4AD8BD9}"/>
          </ac:spMkLst>
        </pc:spChg>
        <pc:spChg chg="add del mod">
          <ac:chgData name="Aurelien Domont" userId="6da7715ce44349b3" providerId="LiveId" clId="{EB96D462-0798-4F2A-A2A8-8BDE27500008}" dt="2023-10-04T03:21:24.963" v="910" actId="478"/>
          <ac:spMkLst>
            <pc:docMk/>
            <pc:sldMk cId="1365513723" sldId="2490"/>
            <ac:spMk id="78" creationId="{9E69652E-A3CD-37CD-F862-B74841356BDA}"/>
          </ac:spMkLst>
        </pc:spChg>
        <pc:spChg chg="add del mod">
          <ac:chgData name="Aurelien Domont" userId="6da7715ce44349b3" providerId="LiveId" clId="{EB96D462-0798-4F2A-A2A8-8BDE27500008}" dt="2023-10-04T03:21:24.963" v="910" actId="478"/>
          <ac:spMkLst>
            <pc:docMk/>
            <pc:sldMk cId="1365513723" sldId="2490"/>
            <ac:spMk id="79" creationId="{A98CD7F0-5AC2-1E72-DD6A-120261A2995A}"/>
          </ac:spMkLst>
        </pc:spChg>
        <pc:spChg chg="add mod">
          <ac:chgData name="Aurelien Domont" userId="6da7715ce44349b3" providerId="LiveId" clId="{EB96D462-0798-4F2A-A2A8-8BDE27500008}" dt="2023-10-04T03:21:27.296" v="912"/>
          <ac:spMkLst>
            <pc:docMk/>
            <pc:sldMk cId="1365513723" sldId="2490"/>
            <ac:spMk id="80" creationId="{E0CF4944-165E-E2C7-26D6-BCD565331FE3}"/>
          </ac:spMkLst>
        </pc:spChg>
        <pc:spChg chg="add mod">
          <ac:chgData name="Aurelien Domont" userId="6da7715ce44349b3" providerId="LiveId" clId="{EB96D462-0798-4F2A-A2A8-8BDE27500008}" dt="2023-10-04T03:21:27.296" v="912"/>
          <ac:spMkLst>
            <pc:docMk/>
            <pc:sldMk cId="1365513723" sldId="2490"/>
            <ac:spMk id="81" creationId="{088AAC97-AAA4-E9A3-6A7E-020511B71B69}"/>
          </ac:spMkLst>
        </pc:spChg>
        <pc:spChg chg="add mod">
          <ac:chgData name="Aurelien Domont" userId="6da7715ce44349b3" providerId="LiveId" clId="{EB96D462-0798-4F2A-A2A8-8BDE27500008}" dt="2023-10-04T03:21:27.296" v="912"/>
          <ac:spMkLst>
            <pc:docMk/>
            <pc:sldMk cId="1365513723" sldId="2490"/>
            <ac:spMk id="82" creationId="{2D6FAC02-4653-97DE-9303-CC72DBE7F696}"/>
          </ac:spMkLst>
        </pc:spChg>
        <pc:spChg chg="add mod">
          <ac:chgData name="Aurelien Domont" userId="6da7715ce44349b3" providerId="LiveId" clId="{EB96D462-0798-4F2A-A2A8-8BDE27500008}" dt="2023-10-04T03:21:27.296" v="912"/>
          <ac:spMkLst>
            <pc:docMk/>
            <pc:sldMk cId="1365513723" sldId="2490"/>
            <ac:spMk id="83" creationId="{C467062B-5612-4E35-8E11-A17D7F1FDA15}"/>
          </ac:spMkLst>
        </pc:spChg>
        <pc:spChg chg="add mod">
          <ac:chgData name="Aurelien Domont" userId="6da7715ce44349b3" providerId="LiveId" clId="{EB96D462-0798-4F2A-A2A8-8BDE27500008}" dt="2023-10-04T03:21:27.296" v="912"/>
          <ac:spMkLst>
            <pc:docMk/>
            <pc:sldMk cId="1365513723" sldId="2490"/>
            <ac:spMk id="84" creationId="{0E6096CA-6E6E-F628-8654-A6AFBC517249}"/>
          </ac:spMkLst>
        </pc:spChg>
        <pc:spChg chg="add mod">
          <ac:chgData name="Aurelien Domont" userId="6da7715ce44349b3" providerId="LiveId" clId="{EB96D462-0798-4F2A-A2A8-8BDE27500008}" dt="2023-10-04T03:21:27.296" v="912"/>
          <ac:spMkLst>
            <pc:docMk/>
            <pc:sldMk cId="1365513723" sldId="2490"/>
            <ac:spMk id="85" creationId="{840AC6EB-718A-CC58-340B-C0D69ED1E4F7}"/>
          </ac:spMkLst>
        </pc:spChg>
        <pc:spChg chg="add mod">
          <ac:chgData name="Aurelien Domont" userId="6da7715ce44349b3" providerId="LiveId" clId="{EB96D462-0798-4F2A-A2A8-8BDE27500008}" dt="2023-10-04T03:21:27.296" v="912"/>
          <ac:spMkLst>
            <pc:docMk/>
            <pc:sldMk cId="1365513723" sldId="2490"/>
            <ac:spMk id="86" creationId="{0918F9A7-B4F6-6361-59AF-85703317C2E1}"/>
          </ac:spMkLst>
        </pc:spChg>
        <pc:spChg chg="add mod">
          <ac:chgData name="Aurelien Domont" userId="6da7715ce44349b3" providerId="LiveId" clId="{EB96D462-0798-4F2A-A2A8-8BDE27500008}" dt="2023-10-04T03:21:27.296" v="912"/>
          <ac:spMkLst>
            <pc:docMk/>
            <pc:sldMk cId="1365513723" sldId="2490"/>
            <ac:spMk id="87" creationId="{2FCBEAFD-AFCE-ACC4-475D-4023686631DA}"/>
          </ac:spMkLst>
        </pc:spChg>
        <pc:spChg chg="add mod">
          <ac:chgData name="Aurelien Domont" userId="6da7715ce44349b3" providerId="LiveId" clId="{EB96D462-0798-4F2A-A2A8-8BDE27500008}" dt="2023-10-04T03:21:27.296" v="912"/>
          <ac:spMkLst>
            <pc:docMk/>
            <pc:sldMk cId="1365513723" sldId="2490"/>
            <ac:spMk id="88" creationId="{8C7DAD75-8921-E7B6-5FBC-F73C8698CEDF}"/>
          </ac:spMkLst>
        </pc:spChg>
        <pc:spChg chg="add mod">
          <ac:chgData name="Aurelien Domont" userId="6da7715ce44349b3" providerId="LiveId" clId="{EB96D462-0798-4F2A-A2A8-8BDE27500008}" dt="2023-10-04T03:21:27.296" v="912"/>
          <ac:spMkLst>
            <pc:docMk/>
            <pc:sldMk cId="1365513723" sldId="2490"/>
            <ac:spMk id="89" creationId="{A808AAA6-E26F-2B68-2408-4680C89E9E32}"/>
          </ac:spMkLst>
        </pc:spChg>
        <pc:spChg chg="add mod">
          <ac:chgData name="Aurelien Domont" userId="6da7715ce44349b3" providerId="LiveId" clId="{EB96D462-0798-4F2A-A2A8-8BDE27500008}" dt="2023-10-04T03:21:27.296" v="912"/>
          <ac:spMkLst>
            <pc:docMk/>
            <pc:sldMk cId="1365513723" sldId="2490"/>
            <ac:spMk id="90" creationId="{AFED202B-1729-F191-42AC-4E5909AE9856}"/>
          </ac:spMkLst>
        </pc:spChg>
        <pc:cxnChg chg="add mod">
          <ac:chgData name="Aurelien Domont" userId="6da7715ce44349b3" providerId="LiveId" clId="{EB96D462-0798-4F2A-A2A8-8BDE27500008}" dt="2023-10-04T03:21:27.296" v="912"/>
          <ac:cxnSpMkLst>
            <pc:docMk/>
            <pc:sldMk cId="1365513723" sldId="2490"/>
            <ac:cxnSpMk id="11" creationId="{03B52274-A96F-85D3-7002-BAFD8FA64ADE}"/>
          </ac:cxnSpMkLst>
        </pc:cxnChg>
        <pc:cxnChg chg="add mod">
          <ac:chgData name="Aurelien Domont" userId="6da7715ce44349b3" providerId="LiveId" clId="{EB96D462-0798-4F2A-A2A8-8BDE27500008}" dt="2023-10-04T03:21:27.296" v="912"/>
          <ac:cxnSpMkLst>
            <pc:docMk/>
            <pc:sldMk cId="1365513723" sldId="2490"/>
            <ac:cxnSpMk id="12" creationId="{0B337AFA-0280-0231-1883-217DCDCA026B}"/>
          </ac:cxnSpMkLst>
        </pc:cxnChg>
        <pc:cxnChg chg="add del mod">
          <ac:chgData name="Aurelien Domont" userId="6da7715ce44349b3" providerId="LiveId" clId="{EB96D462-0798-4F2A-A2A8-8BDE27500008}" dt="2023-10-04T03:21:24.963" v="910" actId="478"/>
          <ac:cxnSpMkLst>
            <pc:docMk/>
            <pc:sldMk cId="1365513723" sldId="2490"/>
            <ac:cxnSpMk id="29" creationId="{23F873D1-BB07-9F6C-4DB0-314D40B2E6ED}"/>
          </ac:cxnSpMkLst>
        </pc:cxnChg>
        <pc:cxnChg chg="add del mod">
          <ac:chgData name="Aurelien Domont" userId="6da7715ce44349b3" providerId="LiveId" clId="{EB96D462-0798-4F2A-A2A8-8BDE27500008}" dt="2023-10-04T03:21:24.963" v="910" actId="478"/>
          <ac:cxnSpMkLst>
            <pc:docMk/>
            <pc:sldMk cId="1365513723" sldId="2490"/>
            <ac:cxnSpMk id="30" creationId="{AE3739C5-AC23-53DC-BF3F-7C685B400A6F}"/>
          </ac:cxnSpMkLst>
        </pc:cxnChg>
        <pc:cxnChg chg="add del mod">
          <ac:chgData name="Aurelien Domont" userId="6da7715ce44349b3" providerId="LiveId" clId="{EB96D462-0798-4F2A-A2A8-8BDE27500008}" dt="2023-10-04T03:21:24.963" v="910" actId="478"/>
          <ac:cxnSpMkLst>
            <pc:docMk/>
            <pc:sldMk cId="1365513723" sldId="2490"/>
            <ac:cxnSpMk id="31" creationId="{2B7D49A0-B31E-8421-F4A7-CC801E6ACA84}"/>
          </ac:cxnSpMkLst>
        </pc:cxnChg>
        <pc:cxnChg chg="add del mod">
          <ac:chgData name="Aurelien Domont" userId="6da7715ce44349b3" providerId="LiveId" clId="{EB96D462-0798-4F2A-A2A8-8BDE27500008}" dt="2023-10-04T03:21:24.963" v="910" actId="478"/>
          <ac:cxnSpMkLst>
            <pc:docMk/>
            <pc:sldMk cId="1365513723" sldId="2490"/>
            <ac:cxnSpMk id="32" creationId="{24683BC0-CC0D-8CA3-3081-30A895A3994F}"/>
          </ac:cxnSpMkLst>
        </pc:cxnChg>
        <pc:cxnChg chg="add mod">
          <ac:chgData name="Aurelien Domont" userId="6da7715ce44349b3" providerId="LiveId" clId="{EB96D462-0798-4F2A-A2A8-8BDE27500008}" dt="2023-10-04T03:21:27.296" v="912"/>
          <ac:cxnSpMkLst>
            <pc:docMk/>
            <pc:sldMk cId="1365513723" sldId="2490"/>
            <ac:cxnSpMk id="39" creationId="{27090824-25FE-10EB-D9EB-F017A4281943}"/>
          </ac:cxnSpMkLst>
        </pc:cxnChg>
        <pc:cxnChg chg="add mod">
          <ac:chgData name="Aurelien Domont" userId="6da7715ce44349b3" providerId="LiveId" clId="{EB96D462-0798-4F2A-A2A8-8BDE27500008}" dt="2023-10-04T03:21:27.296" v="912"/>
          <ac:cxnSpMkLst>
            <pc:docMk/>
            <pc:sldMk cId="1365513723" sldId="2490"/>
            <ac:cxnSpMk id="40" creationId="{196066FD-2804-3245-2DD9-AC4932C61E59}"/>
          </ac:cxnSpMkLst>
        </pc:cxnChg>
      </pc:sldChg>
      <pc:sldChg chg="addSp delSp modSp add mod">
        <pc:chgData name="Aurelien Domont" userId="6da7715ce44349b3" providerId="LiveId" clId="{EB96D462-0798-4F2A-A2A8-8BDE27500008}" dt="2023-10-05T02:52:33.303" v="1384" actId="14100"/>
        <pc:sldMkLst>
          <pc:docMk/>
          <pc:sldMk cId="2064674296" sldId="2491"/>
        </pc:sldMkLst>
        <pc:spChg chg="mod">
          <ac:chgData name="Aurelien Domont" userId="6da7715ce44349b3" providerId="LiveId" clId="{EB96D462-0798-4F2A-A2A8-8BDE27500008}" dt="2023-10-04T03:10:22.025" v="691" actId="313"/>
          <ac:spMkLst>
            <pc:docMk/>
            <pc:sldMk cId="2064674296" sldId="2491"/>
            <ac:spMk id="6" creationId="{DEB285D0-8F6C-4E31-8EF4-24D043585532}"/>
          </ac:spMkLst>
        </pc:spChg>
        <pc:spChg chg="add del mod">
          <ac:chgData name="Aurelien Domont" userId="6da7715ce44349b3" providerId="LiveId" clId="{EB96D462-0798-4F2A-A2A8-8BDE27500008}" dt="2023-10-04T03:07:13.781" v="619" actId="478"/>
          <ac:spMkLst>
            <pc:docMk/>
            <pc:sldMk cId="2064674296" sldId="2491"/>
            <ac:spMk id="7" creationId="{295464C8-0397-ACAD-C1F3-42D223D6EA3F}"/>
          </ac:spMkLst>
        </pc:spChg>
        <pc:spChg chg="add del mod ord">
          <ac:chgData name="Aurelien Domont" userId="6da7715ce44349b3" providerId="LiveId" clId="{EB96D462-0798-4F2A-A2A8-8BDE27500008}" dt="2023-10-04T03:06:37.192" v="602" actId="11529"/>
          <ac:spMkLst>
            <pc:docMk/>
            <pc:sldMk cId="2064674296" sldId="2491"/>
            <ac:spMk id="10" creationId="{02608E33-95A0-AC7E-244F-C479DBBF5CE6}"/>
          </ac:spMkLst>
        </pc:spChg>
        <pc:spChg chg="add mod ord">
          <ac:chgData name="Aurelien Domont" userId="6da7715ce44349b3" providerId="LiveId" clId="{EB96D462-0798-4F2A-A2A8-8BDE27500008}" dt="2023-10-04T03:06:35.280" v="598" actId="571"/>
          <ac:spMkLst>
            <pc:docMk/>
            <pc:sldMk cId="2064674296" sldId="2491"/>
            <ac:spMk id="11" creationId="{1344F472-02D3-0A3A-4CF3-8FE8F82CC3F2}"/>
          </ac:spMkLst>
        </pc:spChg>
        <pc:spChg chg="add mod">
          <ac:chgData name="Aurelien Domont" userId="6da7715ce44349b3" providerId="LiveId" clId="{EB96D462-0798-4F2A-A2A8-8BDE27500008}" dt="2023-10-04T03:05:47.555" v="551" actId="571"/>
          <ac:spMkLst>
            <pc:docMk/>
            <pc:sldMk cId="2064674296" sldId="2491"/>
            <ac:spMk id="12" creationId="{88671B46-075A-2BBE-0891-ACFCF4EB9BAB}"/>
          </ac:spMkLst>
        </pc:spChg>
        <pc:spChg chg="add mod">
          <ac:chgData name="Aurelien Domont" userId="6da7715ce44349b3" providerId="LiveId" clId="{EB96D462-0798-4F2A-A2A8-8BDE27500008}" dt="2023-10-04T03:05:47.555" v="551" actId="571"/>
          <ac:spMkLst>
            <pc:docMk/>
            <pc:sldMk cId="2064674296" sldId="2491"/>
            <ac:spMk id="14" creationId="{7E5B13AF-1FB0-7032-CBC0-E95680A474BB}"/>
          </ac:spMkLst>
        </pc:spChg>
        <pc:spChg chg="add mod ord">
          <ac:chgData name="Aurelien Domont" userId="6da7715ce44349b3" providerId="LiveId" clId="{EB96D462-0798-4F2A-A2A8-8BDE27500008}" dt="2023-10-04T03:06:34.387" v="596" actId="571"/>
          <ac:spMkLst>
            <pc:docMk/>
            <pc:sldMk cId="2064674296" sldId="2491"/>
            <ac:spMk id="15" creationId="{C8FC3696-5EE5-51BD-953B-43E234EB7522}"/>
          </ac:spMkLst>
        </pc:spChg>
        <pc:spChg chg="mod">
          <ac:chgData name="Aurelien Domont" userId="6da7715ce44349b3" providerId="LiveId" clId="{EB96D462-0798-4F2A-A2A8-8BDE27500008}" dt="2023-10-05T02:52:33.303" v="1384" actId="14100"/>
          <ac:spMkLst>
            <pc:docMk/>
            <pc:sldMk cId="2064674296" sldId="2491"/>
            <ac:spMk id="16" creationId="{6C2BB713-9637-4B9B-938F-E9768876782A}"/>
          </ac:spMkLst>
        </pc:spChg>
        <pc:spChg chg="add mod ord">
          <ac:chgData name="Aurelien Domont" userId="6da7715ce44349b3" providerId="LiveId" clId="{EB96D462-0798-4F2A-A2A8-8BDE27500008}" dt="2023-10-04T03:06:34.387" v="596" actId="571"/>
          <ac:spMkLst>
            <pc:docMk/>
            <pc:sldMk cId="2064674296" sldId="2491"/>
            <ac:spMk id="17" creationId="{12141164-4262-8D2F-07BD-129F40CD787F}"/>
          </ac:spMkLst>
        </pc:spChg>
        <pc:spChg chg="add mod">
          <ac:chgData name="Aurelien Domont" userId="6da7715ce44349b3" providerId="LiveId" clId="{EB96D462-0798-4F2A-A2A8-8BDE27500008}" dt="2023-10-04T03:13:49.365" v="742" actId="403"/>
          <ac:spMkLst>
            <pc:docMk/>
            <pc:sldMk cId="2064674296" sldId="2491"/>
            <ac:spMk id="18" creationId="{F03C6816-00CE-1208-10B7-1030D0761CF2}"/>
          </ac:spMkLst>
        </pc:spChg>
        <pc:spChg chg="add mod">
          <ac:chgData name="Aurelien Domont" userId="6da7715ce44349b3" providerId="LiveId" clId="{EB96D462-0798-4F2A-A2A8-8BDE27500008}" dt="2023-10-04T03:13:49.365" v="742" actId="403"/>
          <ac:spMkLst>
            <pc:docMk/>
            <pc:sldMk cId="2064674296" sldId="2491"/>
            <ac:spMk id="19" creationId="{AFBC29E4-48AB-6604-6F09-5B6C641F4DC8}"/>
          </ac:spMkLst>
        </pc:spChg>
        <pc:spChg chg="add mod">
          <ac:chgData name="Aurelien Domont" userId="6da7715ce44349b3" providerId="LiveId" clId="{EB96D462-0798-4F2A-A2A8-8BDE27500008}" dt="2023-10-04T03:13:49.365" v="742" actId="403"/>
          <ac:spMkLst>
            <pc:docMk/>
            <pc:sldMk cId="2064674296" sldId="2491"/>
            <ac:spMk id="20" creationId="{6B56998B-95E0-F77D-8CFB-676C9814801F}"/>
          </ac:spMkLst>
        </pc:spChg>
        <pc:spChg chg="add mod">
          <ac:chgData name="Aurelien Domont" userId="6da7715ce44349b3" providerId="LiveId" clId="{EB96D462-0798-4F2A-A2A8-8BDE27500008}" dt="2023-10-04T03:13:49.365" v="742" actId="403"/>
          <ac:spMkLst>
            <pc:docMk/>
            <pc:sldMk cId="2064674296" sldId="2491"/>
            <ac:spMk id="21" creationId="{AFE2A620-4970-41B3-0846-C34DFAE9AB44}"/>
          </ac:spMkLst>
        </pc:spChg>
        <pc:spChg chg="add mod">
          <ac:chgData name="Aurelien Domont" userId="6da7715ce44349b3" providerId="LiveId" clId="{EB96D462-0798-4F2A-A2A8-8BDE27500008}" dt="2023-10-04T03:13:49.365" v="742" actId="403"/>
          <ac:spMkLst>
            <pc:docMk/>
            <pc:sldMk cId="2064674296" sldId="2491"/>
            <ac:spMk id="22" creationId="{C138A1FE-27AD-281C-5642-0FF74F36ED79}"/>
          </ac:spMkLst>
        </pc:spChg>
        <pc:spChg chg="add mod">
          <ac:chgData name="Aurelien Domont" userId="6da7715ce44349b3" providerId="LiveId" clId="{EB96D462-0798-4F2A-A2A8-8BDE27500008}" dt="2023-10-04T03:13:49.365" v="742" actId="403"/>
          <ac:spMkLst>
            <pc:docMk/>
            <pc:sldMk cId="2064674296" sldId="2491"/>
            <ac:spMk id="23" creationId="{081002AC-F33A-027D-0043-27F39E65D9D5}"/>
          </ac:spMkLst>
        </pc:spChg>
        <pc:spChg chg="add mod">
          <ac:chgData name="Aurelien Domont" userId="6da7715ce44349b3" providerId="LiveId" clId="{EB96D462-0798-4F2A-A2A8-8BDE27500008}" dt="2023-10-04T03:13:49.365" v="742" actId="403"/>
          <ac:spMkLst>
            <pc:docMk/>
            <pc:sldMk cId="2064674296" sldId="2491"/>
            <ac:spMk id="24" creationId="{5BE82994-CD96-0198-FD07-79E5BD435C3D}"/>
          </ac:spMkLst>
        </pc:spChg>
        <pc:spChg chg="add mod">
          <ac:chgData name="Aurelien Domont" userId="6da7715ce44349b3" providerId="LiveId" clId="{EB96D462-0798-4F2A-A2A8-8BDE27500008}" dt="2023-10-04T03:08:50.770" v="639" actId="571"/>
          <ac:spMkLst>
            <pc:docMk/>
            <pc:sldMk cId="2064674296" sldId="2491"/>
            <ac:spMk id="25" creationId="{A57D0F0B-AF2C-CC55-B4C3-68606ACB888B}"/>
          </ac:spMkLst>
        </pc:spChg>
        <pc:spChg chg="add mod">
          <ac:chgData name="Aurelien Domont" userId="6da7715ce44349b3" providerId="LiveId" clId="{EB96D462-0798-4F2A-A2A8-8BDE27500008}" dt="2023-10-04T03:08:50.770" v="639" actId="571"/>
          <ac:spMkLst>
            <pc:docMk/>
            <pc:sldMk cId="2064674296" sldId="2491"/>
            <ac:spMk id="27" creationId="{8E4CB4D4-C7CE-26A4-FD90-1DD1351206E5}"/>
          </ac:spMkLst>
        </pc:spChg>
        <pc:spChg chg="add mod">
          <ac:chgData name="Aurelien Domont" userId="6da7715ce44349b3" providerId="LiveId" clId="{EB96D462-0798-4F2A-A2A8-8BDE27500008}" dt="2023-10-04T03:08:50.770" v="639" actId="571"/>
          <ac:spMkLst>
            <pc:docMk/>
            <pc:sldMk cId="2064674296" sldId="2491"/>
            <ac:spMk id="28" creationId="{E3DBF902-AAB9-E91E-32B4-A53F9A77A30D}"/>
          </ac:spMkLst>
        </pc:spChg>
        <pc:spChg chg="add mod">
          <ac:chgData name="Aurelien Domont" userId="6da7715ce44349b3" providerId="LiveId" clId="{EB96D462-0798-4F2A-A2A8-8BDE27500008}" dt="2023-10-04T03:08:50.770" v="639" actId="571"/>
          <ac:spMkLst>
            <pc:docMk/>
            <pc:sldMk cId="2064674296" sldId="2491"/>
            <ac:spMk id="29" creationId="{9EA9443A-40AD-2ADC-A67E-4AAB82C954A5}"/>
          </ac:spMkLst>
        </pc:spChg>
        <pc:spChg chg="add mod">
          <ac:chgData name="Aurelien Domont" userId="6da7715ce44349b3" providerId="LiveId" clId="{EB96D462-0798-4F2A-A2A8-8BDE27500008}" dt="2023-10-04T03:08:50.770" v="639" actId="571"/>
          <ac:spMkLst>
            <pc:docMk/>
            <pc:sldMk cId="2064674296" sldId="2491"/>
            <ac:spMk id="30" creationId="{3DE5A44A-A7D9-C4B8-098F-D8BE237C6AEF}"/>
          </ac:spMkLst>
        </pc:spChg>
        <pc:spChg chg="add mod">
          <ac:chgData name="Aurelien Domont" userId="6da7715ce44349b3" providerId="LiveId" clId="{EB96D462-0798-4F2A-A2A8-8BDE27500008}" dt="2023-10-04T03:08:50.770" v="639" actId="571"/>
          <ac:spMkLst>
            <pc:docMk/>
            <pc:sldMk cId="2064674296" sldId="2491"/>
            <ac:spMk id="31" creationId="{8F9FE93B-35CA-7519-F029-89921A5B803D}"/>
          </ac:spMkLst>
        </pc:spChg>
        <pc:spChg chg="mod">
          <ac:chgData name="Aurelien Domont" userId="6da7715ce44349b3" providerId="LiveId" clId="{EB96D462-0798-4F2A-A2A8-8BDE27500008}" dt="2023-10-04T03:13:49.365" v="742" actId="403"/>
          <ac:spMkLst>
            <pc:docMk/>
            <pc:sldMk cId="2064674296" sldId="2491"/>
            <ac:spMk id="32" creationId="{77C8B9FE-5149-44A2-9C03-07D804D83E7E}"/>
          </ac:spMkLst>
        </pc:spChg>
        <pc:spChg chg="add mod">
          <ac:chgData name="Aurelien Domont" userId="6da7715ce44349b3" providerId="LiveId" clId="{EB96D462-0798-4F2A-A2A8-8BDE27500008}" dt="2023-10-04T03:08:50.770" v="639" actId="571"/>
          <ac:spMkLst>
            <pc:docMk/>
            <pc:sldMk cId="2064674296" sldId="2491"/>
            <ac:spMk id="33" creationId="{92FA5532-DE78-C24C-BFBA-6566B31B9A55}"/>
          </ac:spMkLst>
        </pc:spChg>
        <pc:spChg chg="add mod">
          <ac:chgData name="Aurelien Domont" userId="6da7715ce44349b3" providerId="LiveId" clId="{EB96D462-0798-4F2A-A2A8-8BDE27500008}" dt="2023-10-04T03:08:50.770" v="639" actId="571"/>
          <ac:spMkLst>
            <pc:docMk/>
            <pc:sldMk cId="2064674296" sldId="2491"/>
            <ac:spMk id="34" creationId="{10DC1975-EDE4-AEE1-5C42-E4E624953FC2}"/>
          </ac:spMkLst>
        </pc:spChg>
        <pc:spChg chg="add mod">
          <ac:chgData name="Aurelien Domont" userId="6da7715ce44349b3" providerId="LiveId" clId="{EB96D462-0798-4F2A-A2A8-8BDE27500008}" dt="2023-10-04T03:13:49.365" v="742" actId="403"/>
          <ac:spMkLst>
            <pc:docMk/>
            <pc:sldMk cId="2064674296" sldId="2491"/>
            <ac:spMk id="35" creationId="{B72537B4-8AC0-83C5-44F7-2B1FC430F691}"/>
          </ac:spMkLst>
        </pc:spChg>
        <pc:spChg chg="add mod">
          <ac:chgData name="Aurelien Domont" userId="6da7715ce44349b3" providerId="LiveId" clId="{EB96D462-0798-4F2A-A2A8-8BDE27500008}" dt="2023-10-04T03:13:49.365" v="742" actId="403"/>
          <ac:spMkLst>
            <pc:docMk/>
            <pc:sldMk cId="2064674296" sldId="2491"/>
            <ac:spMk id="36" creationId="{35AFB243-4F77-599A-D3A2-A49031AAF57A}"/>
          </ac:spMkLst>
        </pc:spChg>
        <pc:spChg chg="add mod">
          <ac:chgData name="Aurelien Domont" userId="6da7715ce44349b3" providerId="LiveId" clId="{EB96D462-0798-4F2A-A2A8-8BDE27500008}" dt="2023-10-04T03:13:49.365" v="742" actId="403"/>
          <ac:spMkLst>
            <pc:docMk/>
            <pc:sldMk cId="2064674296" sldId="2491"/>
            <ac:spMk id="37" creationId="{14EC2043-7710-580F-1276-4F179E384446}"/>
          </ac:spMkLst>
        </pc:spChg>
        <pc:spChg chg="add mod">
          <ac:chgData name="Aurelien Domont" userId="6da7715ce44349b3" providerId="LiveId" clId="{EB96D462-0798-4F2A-A2A8-8BDE27500008}" dt="2023-10-04T03:13:49.365" v="742" actId="403"/>
          <ac:spMkLst>
            <pc:docMk/>
            <pc:sldMk cId="2064674296" sldId="2491"/>
            <ac:spMk id="38" creationId="{1E0E70CC-85C1-365B-244E-8289C8A69B30}"/>
          </ac:spMkLst>
        </pc:spChg>
        <pc:spChg chg="add mod">
          <ac:chgData name="Aurelien Domont" userId="6da7715ce44349b3" providerId="LiveId" clId="{EB96D462-0798-4F2A-A2A8-8BDE27500008}" dt="2023-10-04T03:13:49.365" v="742" actId="403"/>
          <ac:spMkLst>
            <pc:docMk/>
            <pc:sldMk cId="2064674296" sldId="2491"/>
            <ac:spMk id="39" creationId="{577FFF82-D32A-A088-E7D5-41F1EF02EA36}"/>
          </ac:spMkLst>
        </pc:spChg>
        <pc:spChg chg="add mod">
          <ac:chgData name="Aurelien Domont" userId="6da7715ce44349b3" providerId="LiveId" clId="{EB96D462-0798-4F2A-A2A8-8BDE27500008}" dt="2023-10-04T03:13:49.365" v="742" actId="403"/>
          <ac:spMkLst>
            <pc:docMk/>
            <pc:sldMk cId="2064674296" sldId="2491"/>
            <ac:spMk id="40" creationId="{8F2F3D1B-95FB-3A26-CD49-AD3A1AA34471}"/>
          </ac:spMkLst>
        </pc:spChg>
        <pc:spChg chg="add mod">
          <ac:chgData name="Aurelien Domont" userId="6da7715ce44349b3" providerId="LiveId" clId="{EB96D462-0798-4F2A-A2A8-8BDE27500008}" dt="2023-10-04T03:13:49.365" v="742" actId="403"/>
          <ac:spMkLst>
            <pc:docMk/>
            <pc:sldMk cId="2064674296" sldId="2491"/>
            <ac:spMk id="41" creationId="{76CD55CD-DB43-B844-A8AC-B8E9AAB43CCC}"/>
          </ac:spMkLst>
        </pc:spChg>
        <pc:spChg chg="add mod">
          <ac:chgData name="Aurelien Domont" userId="6da7715ce44349b3" providerId="LiveId" clId="{EB96D462-0798-4F2A-A2A8-8BDE27500008}" dt="2023-10-04T03:13:49.365" v="742" actId="403"/>
          <ac:spMkLst>
            <pc:docMk/>
            <pc:sldMk cId="2064674296" sldId="2491"/>
            <ac:spMk id="42" creationId="{38C7DECD-5D79-FBD1-E653-792ED65E8EAF}"/>
          </ac:spMkLst>
        </pc:spChg>
        <pc:spChg chg="mod">
          <ac:chgData name="Aurelien Domont" userId="6da7715ce44349b3" providerId="LiveId" clId="{EB96D462-0798-4F2A-A2A8-8BDE27500008}" dt="2023-10-04T03:06:50.715" v="608" actId="1036"/>
          <ac:spMkLst>
            <pc:docMk/>
            <pc:sldMk cId="2064674296" sldId="2491"/>
            <ac:spMk id="48" creationId="{15866024-AF79-4213-8B1A-136E17B43D5F}"/>
          </ac:spMkLst>
        </pc:spChg>
        <pc:spChg chg="mod">
          <ac:chgData name="Aurelien Domont" userId="6da7715ce44349b3" providerId="LiveId" clId="{EB96D462-0798-4F2A-A2A8-8BDE27500008}" dt="2023-10-04T03:09:15.485" v="651" actId="1036"/>
          <ac:spMkLst>
            <pc:docMk/>
            <pc:sldMk cId="2064674296" sldId="2491"/>
            <ac:spMk id="49" creationId="{8E8144B8-DE60-4898-A390-DDAB274DFD00}"/>
          </ac:spMkLst>
        </pc:spChg>
        <pc:spChg chg="mod">
          <ac:chgData name="Aurelien Domont" userId="6da7715ce44349b3" providerId="LiveId" clId="{EB96D462-0798-4F2A-A2A8-8BDE27500008}" dt="2023-10-04T03:06:50.715" v="608" actId="1036"/>
          <ac:spMkLst>
            <pc:docMk/>
            <pc:sldMk cId="2064674296" sldId="2491"/>
            <ac:spMk id="50" creationId="{021A7501-6AAB-40F6-B45B-D5EE90117B55}"/>
          </ac:spMkLst>
        </pc:spChg>
        <pc:spChg chg="mod">
          <ac:chgData name="Aurelien Domont" userId="6da7715ce44349b3" providerId="LiveId" clId="{EB96D462-0798-4F2A-A2A8-8BDE27500008}" dt="2023-10-04T03:09:15.485" v="651" actId="1036"/>
          <ac:spMkLst>
            <pc:docMk/>
            <pc:sldMk cId="2064674296" sldId="2491"/>
            <ac:spMk id="51" creationId="{0FA74DED-0524-47B0-A2AB-F8328467651E}"/>
          </ac:spMkLst>
        </pc:spChg>
        <pc:spChg chg="del">
          <ac:chgData name="Aurelien Domont" userId="6da7715ce44349b3" providerId="LiveId" clId="{EB96D462-0798-4F2A-A2A8-8BDE27500008}" dt="2023-10-04T03:01:33.591" v="415" actId="478"/>
          <ac:spMkLst>
            <pc:docMk/>
            <pc:sldMk cId="2064674296" sldId="2491"/>
            <ac:spMk id="113" creationId="{A25F7426-C83A-4996-8F55-11E09AB514FD}"/>
          </ac:spMkLst>
        </pc:spChg>
        <pc:spChg chg="del">
          <ac:chgData name="Aurelien Domont" userId="6da7715ce44349b3" providerId="LiveId" clId="{EB96D462-0798-4F2A-A2A8-8BDE27500008}" dt="2023-10-04T03:01:33.591" v="415" actId="478"/>
          <ac:spMkLst>
            <pc:docMk/>
            <pc:sldMk cId="2064674296" sldId="2491"/>
            <ac:spMk id="114" creationId="{617136ED-CBDB-4E11-8547-F8973B50CB97}"/>
          </ac:spMkLst>
        </pc:spChg>
        <pc:spChg chg="del">
          <ac:chgData name="Aurelien Domont" userId="6da7715ce44349b3" providerId="LiveId" clId="{EB96D462-0798-4F2A-A2A8-8BDE27500008}" dt="2023-10-04T03:01:33.591" v="415" actId="478"/>
          <ac:spMkLst>
            <pc:docMk/>
            <pc:sldMk cId="2064674296" sldId="2491"/>
            <ac:spMk id="115" creationId="{9EE5EBFC-A934-414B-975C-CE01B940B6CD}"/>
          </ac:spMkLst>
        </pc:spChg>
        <pc:spChg chg="del">
          <ac:chgData name="Aurelien Domont" userId="6da7715ce44349b3" providerId="LiveId" clId="{EB96D462-0798-4F2A-A2A8-8BDE27500008}" dt="2023-10-04T03:01:33.591" v="415" actId="478"/>
          <ac:spMkLst>
            <pc:docMk/>
            <pc:sldMk cId="2064674296" sldId="2491"/>
            <ac:spMk id="116" creationId="{F68210B4-67B6-4786-91C0-6D58CED7FF49}"/>
          </ac:spMkLst>
        </pc:spChg>
        <pc:spChg chg="del">
          <ac:chgData name="Aurelien Domont" userId="6da7715ce44349b3" providerId="LiveId" clId="{EB96D462-0798-4F2A-A2A8-8BDE27500008}" dt="2023-10-04T03:01:33.591" v="415" actId="478"/>
          <ac:spMkLst>
            <pc:docMk/>
            <pc:sldMk cId="2064674296" sldId="2491"/>
            <ac:spMk id="117" creationId="{091F03B6-C2C5-4F9A-B53A-966DD031D465}"/>
          </ac:spMkLst>
        </pc:spChg>
        <pc:spChg chg="del">
          <ac:chgData name="Aurelien Domont" userId="6da7715ce44349b3" providerId="LiveId" clId="{EB96D462-0798-4F2A-A2A8-8BDE27500008}" dt="2023-10-04T03:01:33.591" v="415" actId="478"/>
          <ac:spMkLst>
            <pc:docMk/>
            <pc:sldMk cId="2064674296" sldId="2491"/>
            <ac:spMk id="118" creationId="{94542872-64CB-48E3-87C2-10EBD587FB69}"/>
          </ac:spMkLst>
        </pc:spChg>
        <pc:spChg chg="del">
          <ac:chgData name="Aurelien Domont" userId="6da7715ce44349b3" providerId="LiveId" clId="{EB96D462-0798-4F2A-A2A8-8BDE27500008}" dt="2023-10-04T03:01:33.591" v="415" actId="478"/>
          <ac:spMkLst>
            <pc:docMk/>
            <pc:sldMk cId="2064674296" sldId="2491"/>
            <ac:spMk id="119" creationId="{0C540759-0E6E-46EA-AC26-6EB59BE2DF5D}"/>
          </ac:spMkLst>
        </pc:spChg>
        <pc:spChg chg="del">
          <ac:chgData name="Aurelien Domont" userId="6da7715ce44349b3" providerId="LiveId" clId="{EB96D462-0798-4F2A-A2A8-8BDE27500008}" dt="2023-10-04T03:01:33.591" v="415" actId="478"/>
          <ac:spMkLst>
            <pc:docMk/>
            <pc:sldMk cId="2064674296" sldId="2491"/>
            <ac:spMk id="120" creationId="{DE186239-6A2C-45CC-95C3-B4F22178B13C}"/>
          </ac:spMkLst>
        </pc:spChg>
        <pc:spChg chg="mod">
          <ac:chgData name="Aurelien Domont" userId="6da7715ce44349b3" providerId="LiveId" clId="{EB96D462-0798-4F2A-A2A8-8BDE27500008}" dt="2023-10-04T03:12:59.460" v="715" actId="20577"/>
          <ac:spMkLst>
            <pc:docMk/>
            <pc:sldMk cId="2064674296" sldId="2491"/>
            <ac:spMk id="131" creationId="{C76B7FBD-575B-4C5A-8FB1-1F63D05FA9D3}"/>
          </ac:spMkLst>
        </pc:spChg>
        <pc:spChg chg="mod">
          <ac:chgData name="Aurelien Domont" userId="6da7715ce44349b3" providerId="LiveId" clId="{EB96D462-0798-4F2A-A2A8-8BDE27500008}" dt="2023-10-04T03:13:04.192" v="717"/>
          <ac:spMkLst>
            <pc:docMk/>
            <pc:sldMk cId="2064674296" sldId="2491"/>
            <ac:spMk id="132" creationId="{C4702D20-AE96-4591-B64C-5F6124810436}"/>
          </ac:spMkLst>
        </pc:spChg>
        <pc:spChg chg="mod">
          <ac:chgData name="Aurelien Domont" userId="6da7715ce44349b3" providerId="LiveId" clId="{EB96D462-0798-4F2A-A2A8-8BDE27500008}" dt="2023-10-04T03:13:02.975" v="716"/>
          <ac:spMkLst>
            <pc:docMk/>
            <pc:sldMk cId="2064674296" sldId="2491"/>
            <ac:spMk id="133" creationId="{3C778625-C3D1-48F2-9A33-8781BDF318D9}"/>
          </ac:spMkLst>
        </pc:spChg>
        <pc:spChg chg="del">
          <ac:chgData name="Aurelien Domont" userId="6da7715ce44349b3" providerId="LiveId" clId="{EB96D462-0798-4F2A-A2A8-8BDE27500008}" dt="2023-10-04T03:07:00.306" v="614" actId="478"/>
          <ac:spMkLst>
            <pc:docMk/>
            <pc:sldMk cId="2064674296" sldId="2491"/>
            <ac:spMk id="134" creationId="{9F7B0102-BF60-409B-805B-AF8E279D995D}"/>
          </ac:spMkLst>
        </pc:spChg>
        <pc:spChg chg="del">
          <ac:chgData name="Aurelien Domont" userId="6da7715ce44349b3" providerId="LiveId" clId="{EB96D462-0798-4F2A-A2A8-8BDE27500008}" dt="2023-10-04T03:07:00.306" v="614" actId="478"/>
          <ac:spMkLst>
            <pc:docMk/>
            <pc:sldMk cId="2064674296" sldId="2491"/>
            <ac:spMk id="135" creationId="{57207B5B-D1F3-4165-913A-654F2037E3F7}"/>
          </ac:spMkLst>
        </pc:spChg>
        <pc:spChg chg="del">
          <ac:chgData name="Aurelien Domont" userId="6da7715ce44349b3" providerId="LiveId" clId="{EB96D462-0798-4F2A-A2A8-8BDE27500008}" dt="2023-10-04T03:07:00.306" v="614" actId="478"/>
          <ac:spMkLst>
            <pc:docMk/>
            <pc:sldMk cId="2064674296" sldId="2491"/>
            <ac:spMk id="136" creationId="{DD11B4CC-8375-4E46-9695-8945699A76EB}"/>
          </ac:spMkLst>
        </pc:spChg>
        <pc:spChg chg="del">
          <ac:chgData name="Aurelien Domont" userId="6da7715ce44349b3" providerId="LiveId" clId="{EB96D462-0798-4F2A-A2A8-8BDE27500008}" dt="2023-10-04T03:07:00.306" v="614" actId="478"/>
          <ac:spMkLst>
            <pc:docMk/>
            <pc:sldMk cId="2064674296" sldId="2491"/>
            <ac:spMk id="137" creationId="{09F2F1FD-0DD4-4BC9-A134-FA6F6B3532F5}"/>
          </ac:spMkLst>
        </pc:spChg>
        <pc:spChg chg="del">
          <ac:chgData name="Aurelien Domont" userId="6da7715ce44349b3" providerId="LiveId" clId="{EB96D462-0798-4F2A-A2A8-8BDE27500008}" dt="2023-10-04T03:07:00.306" v="614" actId="478"/>
          <ac:spMkLst>
            <pc:docMk/>
            <pc:sldMk cId="2064674296" sldId="2491"/>
            <ac:spMk id="138" creationId="{CB843DD2-5ED4-4834-BCF3-CF9547B98AD8}"/>
          </ac:spMkLst>
        </pc:spChg>
        <pc:spChg chg="del">
          <ac:chgData name="Aurelien Domont" userId="6da7715ce44349b3" providerId="LiveId" clId="{EB96D462-0798-4F2A-A2A8-8BDE27500008}" dt="2023-10-04T03:07:00.306" v="614" actId="478"/>
          <ac:spMkLst>
            <pc:docMk/>
            <pc:sldMk cId="2064674296" sldId="2491"/>
            <ac:spMk id="139" creationId="{878081A9-CE92-4D3B-826A-E4691FA892B6}"/>
          </ac:spMkLst>
        </pc:spChg>
        <pc:spChg chg="del">
          <ac:chgData name="Aurelien Domont" userId="6da7715ce44349b3" providerId="LiveId" clId="{EB96D462-0798-4F2A-A2A8-8BDE27500008}" dt="2023-10-04T03:07:00.306" v="614" actId="478"/>
          <ac:spMkLst>
            <pc:docMk/>
            <pc:sldMk cId="2064674296" sldId="2491"/>
            <ac:spMk id="140" creationId="{FC3954BD-DE92-41AD-B346-CC4FDE7DA8DD}"/>
          </ac:spMkLst>
        </pc:spChg>
        <pc:spChg chg="del">
          <ac:chgData name="Aurelien Domont" userId="6da7715ce44349b3" providerId="LiveId" clId="{EB96D462-0798-4F2A-A2A8-8BDE27500008}" dt="2023-10-04T03:07:00.306" v="614" actId="478"/>
          <ac:spMkLst>
            <pc:docMk/>
            <pc:sldMk cId="2064674296" sldId="2491"/>
            <ac:spMk id="141" creationId="{40267ADE-78B5-4E46-9230-EEC44DCF8915}"/>
          </ac:spMkLst>
        </pc:spChg>
        <pc:spChg chg="del">
          <ac:chgData name="Aurelien Domont" userId="6da7715ce44349b3" providerId="LiveId" clId="{EB96D462-0798-4F2A-A2A8-8BDE27500008}" dt="2023-10-04T03:07:00.306" v="614" actId="478"/>
          <ac:spMkLst>
            <pc:docMk/>
            <pc:sldMk cId="2064674296" sldId="2491"/>
            <ac:spMk id="142" creationId="{97AC1EF8-79EC-4B9C-B7F5-6A01790A6CFC}"/>
          </ac:spMkLst>
        </pc:spChg>
        <pc:spChg chg="del">
          <ac:chgData name="Aurelien Domont" userId="6da7715ce44349b3" providerId="LiveId" clId="{EB96D462-0798-4F2A-A2A8-8BDE27500008}" dt="2023-10-04T03:07:03.035" v="615" actId="478"/>
          <ac:spMkLst>
            <pc:docMk/>
            <pc:sldMk cId="2064674296" sldId="2491"/>
            <ac:spMk id="143" creationId="{CBA393DC-374A-45EC-9D5C-DD66DBC27679}"/>
          </ac:spMkLst>
        </pc:spChg>
        <pc:spChg chg="del">
          <ac:chgData name="Aurelien Domont" userId="6da7715ce44349b3" providerId="LiveId" clId="{EB96D462-0798-4F2A-A2A8-8BDE27500008}" dt="2023-10-04T03:07:03.035" v="615" actId="478"/>
          <ac:spMkLst>
            <pc:docMk/>
            <pc:sldMk cId="2064674296" sldId="2491"/>
            <ac:spMk id="144" creationId="{24EBFD13-D8FA-4BB2-8E82-E3DC84588609}"/>
          </ac:spMkLst>
        </pc:spChg>
        <pc:spChg chg="del">
          <ac:chgData name="Aurelien Domont" userId="6da7715ce44349b3" providerId="LiveId" clId="{EB96D462-0798-4F2A-A2A8-8BDE27500008}" dt="2023-10-04T03:07:03.035" v="615" actId="478"/>
          <ac:spMkLst>
            <pc:docMk/>
            <pc:sldMk cId="2064674296" sldId="2491"/>
            <ac:spMk id="145" creationId="{B0B0B941-236C-404F-B06F-D297AE66A220}"/>
          </ac:spMkLst>
        </pc:spChg>
        <pc:spChg chg="del">
          <ac:chgData name="Aurelien Domont" userId="6da7715ce44349b3" providerId="LiveId" clId="{EB96D462-0798-4F2A-A2A8-8BDE27500008}" dt="2023-10-04T03:07:03.035" v="615" actId="478"/>
          <ac:spMkLst>
            <pc:docMk/>
            <pc:sldMk cId="2064674296" sldId="2491"/>
            <ac:spMk id="146" creationId="{1810207E-BE89-4502-AE0B-98BF06074BB0}"/>
          </ac:spMkLst>
        </pc:spChg>
        <pc:spChg chg="del">
          <ac:chgData name="Aurelien Domont" userId="6da7715ce44349b3" providerId="LiveId" clId="{EB96D462-0798-4F2A-A2A8-8BDE27500008}" dt="2023-10-04T03:07:03.035" v="615" actId="478"/>
          <ac:spMkLst>
            <pc:docMk/>
            <pc:sldMk cId="2064674296" sldId="2491"/>
            <ac:spMk id="147" creationId="{EC86A18B-42E0-4F54-B91E-128062C4905F}"/>
          </ac:spMkLst>
        </pc:spChg>
        <pc:spChg chg="del">
          <ac:chgData name="Aurelien Domont" userId="6da7715ce44349b3" providerId="LiveId" clId="{EB96D462-0798-4F2A-A2A8-8BDE27500008}" dt="2023-10-04T03:07:03.035" v="615" actId="478"/>
          <ac:spMkLst>
            <pc:docMk/>
            <pc:sldMk cId="2064674296" sldId="2491"/>
            <ac:spMk id="148" creationId="{72CFCA3A-6DEC-4BC5-A658-FBBDECF23617}"/>
          </ac:spMkLst>
        </pc:spChg>
        <pc:spChg chg="del">
          <ac:chgData name="Aurelien Domont" userId="6da7715ce44349b3" providerId="LiveId" clId="{EB96D462-0798-4F2A-A2A8-8BDE27500008}" dt="2023-10-04T03:07:03.035" v="615" actId="478"/>
          <ac:spMkLst>
            <pc:docMk/>
            <pc:sldMk cId="2064674296" sldId="2491"/>
            <ac:spMk id="149" creationId="{E90DD80E-E38A-4625-91BD-7FDC9312A827}"/>
          </ac:spMkLst>
        </pc:spChg>
        <pc:spChg chg="del">
          <ac:chgData name="Aurelien Domont" userId="6da7715ce44349b3" providerId="LiveId" clId="{EB96D462-0798-4F2A-A2A8-8BDE27500008}" dt="2023-10-04T03:07:03.035" v="615" actId="478"/>
          <ac:spMkLst>
            <pc:docMk/>
            <pc:sldMk cId="2064674296" sldId="2491"/>
            <ac:spMk id="150" creationId="{1FAFB220-21F0-4588-9224-442E3063EE2A}"/>
          </ac:spMkLst>
        </pc:spChg>
        <pc:spChg chg="del">
          <ac:chgData name="Aurelien Domont" userId="6da7715ce44349b3" providerId="LiveId" clId="{EB96D462-0798-4F2A-A2A8-8BDE27500008}" dt="2023-10-04T03:07:03.035" v="615" actId="478"/>
          <ac:spMkLst>
            <pc:docMk/>
            <pc:sldMk cId="2064674296" sldId="2491"/>
            <ac:spMk id="151" creationId="{53326BF5-6112-4994-A9DD-3DB8FBAC030B}"/>
          </ac:spMkLst>
        </pc:spChg>
        <pc:spChg chg="del">
          <ac:chgData name="Aurelien Domont" userId="6da7715ce44349b3" providerId="LiveId" clId="{EB96D462-0798-4F2A-A2A8-8BDE27500008}" dt="2023-10-04T03:07:03.035" v="615" actId="478"/>
          <ac:spMkLst>
            <pc:docMk/>
            <pc:sldMk cId="2064674296" sldId="2491"/>
            <ac:spMk id="152" creationId="{8D2224F5-2A34-495C-9078-71D32877DE4F}"/>
          </ac:spMkLst>
        </pc:spChg>
        <pc:spChg chg="del">
          <ac:chgData name="Aurelien Domont" userId="6da7715ce44349b3" providerId="LiveId" clId="{EB96D462-0798-4F2A-A2A8-8BDE27500008}" dt="2023-10-04T03:07:03.035" v="615" actId="478"/>
          <ac:spMkLst>
            <pc:docMk/>
            <pc:sldMk cId="2064674296" sldId="2491"/>
            <ac:spMk id="153" creationId="{B75A2AEF-BD49-4E7B-8988-854976323B81}"/>
          </ac:spMkLst>
        </pc:spChg>
        <pc:spChg chg="del">
          <ac:chgData name="Aurelien Domont" userId="6da7715ce44349b3" providerId="LiveId" clId="{EB96D462-0798-4F2A-A2A8-8BDE27500008}" dt="2023-10-04T03:07:03.035" v="615" actId="478"/>
          <ac:spMkLst>
            <pc:docMk/>
            <pc:sldMk cId="2064674296" sldId="2491"/>
            <ac:spMk id="154" creationId="{3577CCEB-F3AA-475A-9D67-8A938EF2F7EE}"/>
          </ac:spMkLst>
        </pc:spChg>
        <pc:spChg chg="del">
          <ac:chgData name="Aurelien Domont" userId="6da7715ce44349b3" providerId="LiveId" clId="{EB96D462-0798-4F2A-A2A8-8BDE27500008}" dt="2023-10-04T03:07:03.035" v="615" actId="478"/>
          <ac:spMkLst>
            <pc:docMk/>
            <pc:sldMk cId="2064674296" sldId="2491"/>
            <ac:spMk id="155" creationId="{A32C28A0-64C1-4752-9999-EDD317702AEB}"/>
          </ac:spMkLst>
        </pc:spChg>
        <pc:spChg chg="del">
          <ac:chgData name="Aurelien Domont" userId="6da7715ce44349b3" providerId="LiveId" clId="{EB96D462-0798-4F2A-A2A8-8BDE27500008}" dt="2023-10-04T03:07:03.035" v="615" actId="478"/>
          <ac:spMkLst>
            <pc:docMk/>
            <pc:sldMk cId="2064674296" sldId="2491"/>
            <ac:spMk id="156" creationId="{2AD97465-8C80-44B2-8709-053CF992D6E3}"/>
          </ac:spMkLst>
        </pc:spChg>
        <pc:spChg chg="del">
          <ac:chgData name="Aurelien Domont" userId="6da7715ce44349b3" providerId="LiveId" clId="{EB96D462-0798-4F2A-A2A8-8BDE27500008}" dt="2023-10-04T03:07:03.035" v="615" actId="478"/>
          <ac:spMkLst>
            <pc:docMk/>
            <pc:sldMk cId="2064674296" sldId="2491"/>
            <ac:spMk id="157" creationId="{87768643-96E8-4D4F-8897-7C869705224A}"/>
          </ac:spMkLst>
        </pc:spChg>
        <pc:spChg chg="del">
          <ac:chgData name="Aurelien Domont" userId="6da7715ce44349b3" providerId="LiveId" clId="{EB96D462-0798-4F2A-A2A8-8BDE27500008}" dt="2023-10-04T03:07:03.035" v="615" actId="478"/>
          <ac:spMkLst>
            <pc:docMk/>
            <pc:sldMk cId="2064674296" sldId="2491"/>
            <ac:spMk id="158" creationId="{D12D99E7-54F3-4DDA-9B48-F445C9AA0126}"/>
          </ac:spMkLst>
        </pc:spChg>
        <pc:spChg chg="del">
          <ac:chgData name="Aurelien Domont" userId="6da7715ce44349b3" providerId="LiveId" clId="{EB96D462-0798-4F2A-A2A8-8BDE27500008}" dt="2023-10-04T03:07:03.035" v="615" actId="478"/>
          <ac:spMkLst>
            <pc:docMk/>
            <pc:sldMk cId="2064674296" sldId="2491"/>
            <ac:spMk id="159" creationId="{9854AE39-DA0B-4240-BF0E-47BC08F2A541}"/>
          </ac:spMkLst>
        </pc:spChg>
        <pc:spChg chg="del">
          <ac:chgData name="Aurelien Domont" userId="6da7715ce44349b3" providerId="LiveId" clId="{EB96D462-0798-4F2A-A2A8-8BDE27500008}" dt="2023-10-04T03:07:03.035" v="615" actId="478"/>
          <ac:spMkLst>
            <pc:docMk/>
            <pc:sldMk cId="2064674296" sldId="2491"/>
            <ac:spMk id="160" creationId="{2BF676F8-D343-4096-99EC-4ADA96C4F8D2}"/>
          </ac:spMkLst>
        </pc:spChg>
        <pc:cxnChg chg="add mod">
          <ac:chgData name="Aurelien Domont" userId="6da7715ce44349b3" providerId="LiveId" clId="{EB96D462-0798-4F2A-A2A8-8BDE27500008}" dt="2023-10-04T03:04:42.332" v="541" actId="208"/>
          <ac:cxnSpMkLst>
            <pc:docMk/>
            <pc:sldMk cId="2064674296" sldId="2491"/>
            <ac:cxnSpMk id="9" creationId="{53914054-A9B8-E547-5030-2B3F6D3874C0}"/>
          </ac:cxnSpMkLst>
        </pc:cxnChg>
        <pc:cxnChg chg="add mod">
          <ac:chgData name="Aurelien Domont" userId="6da7715ce44349b3" providerId="LiveId" clId="{EB96D462-0798-4F2A-A2A8-8BDE27500008}" dt="2023-10-04T03:08:50.770" v="639" actId="571"/>
          <ac:cxnSpMkLst>
            <pc:docMk/>
            <pc:sldMk cId="2064674296" sldId="2491"/>
            <ac:cxnSpMk id="26" creationId="{84352A76-664A-FBEB-E945-CC4973EA1ED0}"/>
          </ac:cxnSpMkLst>
        </pc:cxnChg>
        <pc:cxnChg chg="mod">
          <ac:chgData name="Aurelien Domont" userId="6da7715ce44349b3" providerId="LiveId" clId="{EB96D462-0798-4F2A-A2A8-8BDE27500008}" dt="2023-10-04T03:09:36.515" v="653" actId="1582"/>
          <ac:cxnSpMkLst>
            <pc:docMk/>
            <pc:sldMk cId="2064674296" sldId="2491"/>
            <ac:cxnSpMk id="53" creationId="{59056C98-B5BA-40F9-A432-B7B9C998BC04}"/>
          </ac:cxnSpMkLst>
        </pc:cxnChg>
        <pc:cxnChg chg="mod">
          <ac:chgData name="Aurelien Domont" userId="6da7715ce44349b3" providerId="LiveId" clId="{EB96D462-0798-4F2A-A2A8-8BDE27500008}" dt="2023-10-04T03:09:36.515" v="653" actId="1582"/>
          <ac:cxnSpMkLst>
            <pc:docMk/>
            <pc:sldMk cId="2064674296" sldId="2491"/>
            <ac:cxnSpMk id="54" creationId="{3E366202-1516-4E2B-8C02-57AD0E3DE466}"/>
          </ac:cxnSpMkLst>
        </pc:cxnChg>
      </pc:sldChg>
      <pc:sldChg chg="add del">
        <pc:chgData name="Aurelien Domont" userId="6da7715ce44349b3" providerId="LiveId" clId="{EB96D462-0798-4F2A-A2A8-8BDE27500008}" dt="2023-10-04T02:51:37.443" v="288" actId="47"/>
        <pc:sldMkLst>
          <pc:docMk/>
          <pc:sldMk cId="2389298065" sldId="2491"/>
        </pc:sldMkLst>
      </pc:sldChg>
      <pc:sldChg chg="modSp add mod">
        <pc:chgData name="Aurelien Domont" userId="6da7715ce44349b3" providerId="LiveId" clId="{EB96D462-0798-4F2A-A2A8-8BDE27500008}" dt="2023-10-05T02:53:03.182" v="1389" actId="20577"/>
        <pc:sldMkLst>
          <pc:docMk/>
          <pc:sldMk cId="3647286032" sldId="2492"/>
        </pc:sldMkLst>
        <pc:spChg chg="mod">
          <ac:chgData name="Aurelien Domont" userId="6da7715ce44349b3" providerId="LiveId" clId="{EB96D462-0798-4F2A-A2A8-8BDE27500008}" dt="2023-10-05T02:53:03.182" v="1389" actId="20577"/>
          <ac:spMkLst>
            <pc:docMk/>
            <pc:sldMk cId="3647286032" sldId="2492"/>
            <ac:spMk id="16" creationId="{6C2BB713-9637-4B9B-938F-E9768876782A}"/>
          </ac:spMkLst>
        </pc:spChg>
        <pc:spChg chg="mod">
          <ac:chgData name="Aurelien Domont" userId="6da7715ce44349b3" providerId="LiveId" clId="{EB96D462-0798-4F2A-A2A8-8BDE27500008}" dt="2023-10-04T03:14:59.208" v="793" actId="20577"/>
          <ac:spMkLst>
            <pc:docMk/>
            <pc:sldMk cId="3647286032" sldId="2492"/>
            <ac:spMk id="18" creationId="{F03C6816-00CE-1208-10B7-1030D0761CF2}"/>
          </ac:spMkLst>
        </pc:spChg>
        <pc:spChg chg="mod">
          <ac:chgData name="Aurelien Domont" userId="6da7715ce44349b3" providerId="LiveId" clId="{EB96D462-0798-4F2A-A2A8-8BDE27500008}" dt="2023-10-04T03:15:14.530" v="805" actId="20577"/>
          <ac:spMkLst>
            <pc:docMk/>
            <pc:sldMk cId="3647286032" sldId="2492"/>
            <ac:spMk id="19" creationId="{AFBC29E4-48AB-6604-6F09-5B6C641F4DC8}"/>
          </ac:spMkLst>
        </pc:spChg>
        <pc:spChg chg="mod">
          <ac:chgData name="Aurelien Domont" userId="6da7715ce44349b3" providerId="LiveId" clId="{EB96D462-0798-4F2A-A2A8-8BDE27500008}" dt="2023-10-04T03:15:35.486" v="837" actId="313"/>
          <ac:spMkLst>
            <pc:docMk/>
            <pc:sldMk cId="3647286032" sldId="2492"/>
            <ac:spMk id="20" creationId="{6B56998B-95E0-F77D-8CFB-676C9814801F}"/>
          </ac:spMkLst>
        </pc:spChg>
        <pc:spChg chg="mod">
          <ac:chgData name="Aurelien Domont" userId="6da7715ce44349b3" providerId="LiveId" clId="{EB96D462-0798-4F2A-A2A8-8BDE27500008}" dt="2023-10-04T03:16:54.377" v="877"/>
          <ac:spMkLst>
            <pc:docMk/>
            <pc:sldMk cId="3647286032" sldId="2492"/>
            <ac:spMk id="21" creationId="{AFE2A620-4970-41B3-0846-C34DFAE9AB44}"/>
          </ac:spMkLst>
        </pc:spChg>
        <pc:spChg chg="mod">
          <ac:chgData name="Aurelien Domont" userId="6da7715ce44349b3" providerId="LiveId" clId="{EB96D462-0798-4F2A-A2A8-8BDE27500008}" dt="2023-10-04T03:17:31.532" v="899" actId="20577"/>
          <ac:spMkLst>
            <pc:docMk/>
            <pc:sldMk cId="3647286032" sldId="2492"/>
            <ac:spMk id="22" creationId="{C138A1FE-27AD-281C-5642-0FF74F36ED79}"/>
          </ac:spMkLst>
        </pc:spChg>
        <pc:spChg chg="mod">
          <ac:chgData name="Aurelien Domont" userId="6da7715ce44349b3" providerId="LiveId" clId="{EB96D462-0798-4F2A-A2A8-8BDE27500008}" dt="2023-10-04T03:13:57.072" v="744" actId="403"/>
          <ac:spMkLst>
            <pc:docMk/>
            <pc:sldMk cId="3647286032" sldId="2492"/>
            <ac:spMk id="23" creationId="{081002AC-F33A-027D-0043-27F39E65D9D5}"/>
          </ac:spMkLst>
        </pc:spChg>
        <pc:spChg chg="mod">
          <ac:chgData name="Aurelien Domont" userId="6da7715ce44349b3" providerId="LiveId" clId="{EB96D462-0798-4F2A-A2A8-8BDE27500008}" dt="2023-10-04T03:13:57.072" v="744" actId="403"/>
          <ac:spMkLst>
            <pc:docMk/>
            <pc:sldMk cId="3647286032" sldId="2492"/>
            <ac:spMk id="24" creationId="{5BE82994-CD96-0198-FD07-79E5BD435C3D}"/>
          </ac:spMkLst>
        </pc:spChg>
        <pc:spChg chg="mod">
          <ac:chgData name="Aurelien Domont" userId="6da7715ce44349b3" providerId="LiveId" clId="{EB96D462-0798-4F2A-A2A8-8BDE27500008}" dt="2023-10-04T03:13:57.072" v="744" actId="403"/>
          <ac:spMkLst>
            <pc:docMk/>
            <pc:sldMk cId="3647286032" sldId="2492"/>
            <ac:spMk id="32" creationId="{77C8B9FE-5149-44A2-9C03-07D804D83E7E}"/>
          </ac:spMkLst>
        </pc:spChg>
        <pc:spChg chg="mod">
          <ac:chgData name="Aurelien Domont" userId="6da7715ce44349b3" providerId="LiveId" clId="{EB96D462-0798-4F2A-A2A8-8BDE27500008}" dt="2023-10-04T03:16:02.650" v="842" actId="20577"/>
          <ac:spMkLst>
            <pc:docMk/>
            <pc:sldMk cId="3647286032" sldId="2492"/>
            <ac:spMk id="35" creationId="{B72537B4-8AC0-83C5-44F7-2B1FC430F691}"/>
          </ac:spMkLst>
        </pc:spChg>
        <pc:spChg chg="mod">
          <ac:chgData name="Aurelien Domont" userId="6da7715ce44349b3" providerId="LiveId" clId="{EB96D462-0798-4F2A-A2A8-8BDE27500008}" dt="2023-10-04T03:16:52.851" v="876" actId="21"/>
          <ac:spMkLst>
            <pc:docMk/>
            <pc:sldMk cId="3647286032" sldId="2492"/>
            <ac:spMk id="36" creationId="{35AFB243-4F77-599A-D3A2-A49031AAF57A}"/>
          </ac:spMkLst>
        </pc:spChg>
        <pc:spChg chg="mod">
          <ac:chgData name="Aurelien Domont" userId="6da7715ce44349b3" providerId="LiveId" clId="{EB96D462-0798-4F2A-A2A8-8BDE27500008}" dt="2023-10-04T03:16:24.871" v="874" actId="20577"/>
          <ac:spMkLst>
            <pc:docMk/>
            <pc:sldMk cId="3647286032" sldId="2492"/>
            <ac:spMk id="37" creationId="{14EC2043-7710-580F-1276-4F179E384446}"/>
          </ac:spMkLst>
        </pc:spChg>
        <pc:spChg chg="mod">
          <ac:chgData name="Aurelien Domont" userId="6da7715ce44349b3" providerId="LiveId" clId="{EB96D462-0798-4F2A-A2A8-8BDE27500008}" dt="2023-10-04T03:13:57.072" v="744" actId="403"/>
          <ac:spMkLst>
            <pc:docMk/>
            <pc:sldMk cId="3647286032" sldId="2492"/>
            <ac:spMk id="38" creationId="{1E0E70CC-85C1-365B-244E-8289C8A69B30}"/>
          </ac:spMkLst>
        </pc:spChg>
        <pc:spChg chg="mod">
          <ac:chgData name="Aurelien Domont" userId="6da7715ce44349b3" providerId="LiveId" clId="{EB96D462-0798-4F2A-A2A8-8BDE27500008}" dt="2023-10-04T03:17:33.637" v="901" actId="20577"/>
          <ac:spMkLst>
            <pc:docMk/>
            <pc:sldMk cId="3647286032" sldId="2492"/>
            <ac:spMk id="39" creationId="{577FFF82-D32A-A088-E7D5-41F1EF02EA36}"/>
          </ac:spMkLst>
        </pc:spChg>
        <pc:spChg chg="mod">
          <ac:chgData name="Aurelien Domont" userId="6da7715ce44349b3" providerId="LiveId" clId="{EB96D462-0798-4F2A-A2A8-8BDE27500008}" dt="2023-10-04T03:14:27.854" v="776" actId="20577"/>
          <ac:spMkLst>
            <pc:docMk/>
            <pc:sldMk cId="3647286032" sldId="2492"/>
            <ac:spMk id="40" creationId="{8F2F3D1B-95FB-3A26-CD49-AD3A1AA34471}"/>
          </ac:spMkLst>
        </pc:spChg>
        <pc:spChg chg="mod">
          <ac:chgData name="Aurelien Domont" userId="6da7715ce44349b3" providerId="LiveId" clId="{EB96D462-0798-4F2A-A2A8-8BDE27500008}" dt="2023-10-04T03:13:57.072" v="744" actId="403"/>
          <ac:spMkLst>
            <pc:docMk/>
            <pc:sldMk cId="3647286032" sldId="2492"/>
            <ac:spMk id="41" creationId="{76CD55CD-DB43-B844-A8AC-B8E9AAB43CCC}"/>
          </ac:spMkLst>
        </pc:spChg>
        <pc:spChg chg="mod">
          <ac:chgData name="Aurelien Domont" userId="6da7715ce44349b3" providerId="LiveId" clId="{EB96D462-0798-4F2A-A2A8-8BDE27500008}" dt="2023-10-04T03:13:57.072" v="744" actId="403"/>
          <ac:spMkLst>
            <pc:docMk/>
            <pc:sldMk cId="3647286032" sldId="2492"/>
            <ac:spMk id="42" creationId="{38C7DECD-5D79-FBD1-E653-792ED65E8EAF}"/>
          </ac:spMkLst>
        </pc:spChg>
      </pc:sldChg>
      <pc:sldChg chg="addSp delSp modSp add mod">
        <pc:chgData name="Aurelien Domont" userId="6da7715ce44349b3" providerId="LiveId" clId="{EB96D462-0798-4F2A-A2A8-8BDE27500008}" dt="2023-10-05T02:53:34.837" v="1393" actId="27636"/>
        <pc:sldMkLst>
          <pc:docMk/>
          <pc:sldMk cId="3219583305" sldId="2493"/>
        </pc:sldMkLst>
        <pc:spChg chg="add mod">
          <ac:chgData name="Aurelien Domont" userId="6da7715ce44349b3" providerId="LiveId" clId="{EB96D462-0798-4F2A-A2A8-8BDE27500008}" dt="2023-10-04T03:19:10.594" v="908" actId="403"/>
          <ac:spMkLst>
            <pc:docMk/>
            <pc:sldMk cId="3219583305" sldId="2493"/>
            <ac:spMk id="7" creationId="{92857571-80F2-4ADA-42FC-A7C9AFF90382}"/>
          </ac:spMkLst>
        </pc:spChg>
        <pc:spChg chg="add mod">
          <ac:chgData name="Aurelien Domont" userId="6da7715ce44349b3" providerId="LiveId" clId="{EB96D462-0798-4F2A-A2A8-8BDE27500008}" dt="2023-10-04T03:19:10.594" v="908" actId="403"/>
          <ac:spMkLst>
            <pc:docMk/>
            <pc:sldMk cId="3219583305" sldId="2493"/>
            <ac:spMk id="8" creationId="{8CD469F2-05B7-9EFB-9DF2-D76358D27FDC}"/>
          </ac:spMkLst>
        </pc:spChg>
        <pc:spChg chg="add mod">
          <ac:chgData name="Aurelien Domont" userId="6da7715ce44349b3" providerId="LiveId" clId="{EB96D462-0798-4F2A-A2A8-8BDE27500008}" dt="2023-10-04T03:19:10.594" v="908" actId="403"/>
          <ac:spMkLst>
            <pc:docMk/>
            <pc:sldMk cId="3219583305" sldId="2493"/>
            <ac:spMk id="10" creationId="{CEAB18F0-6197-0227-6997-2824B9B9D5D8}"/>
          </ac:spMkLst>
        </pc:spChg>
        <pc:spChg chg="add mod">
          <ac:chgData name="Aurelien Domont" userId="6da7715ce44349b3" providerId="LiveId" clId="{EB96D462-0798-4F2A-A2A8-8BDE27500008}" dt="2023-10-04T03:19:10.594" v="908" actId="403"/>
          <ac:spMkLst>
            <pc:docMk/>
            <pc:sldMk cId="3219583305" sldId="2493"/>
            <ac:spMk id="11" creationId="{9AE698D7-0282-80C3-D592-CB9ECFAF70EC}"/>
          </ac:spMkLst>
        </pc:spChg>
        <pc:spChg chg="mod">
          <ac:chgData name="Aurelien Domont" userId="6da7715ce44349b3" providerId="LiveId" clId="{EB96D462-0798-4F2A-A2A8-8BDE27500008}" dt="2023-10-05T02:53:34.837" v="1393" actId="27636"/>
          <ac:spMkLst>
            <pc:docMk/>
            <pc:sldMk cId="3219583305" sldId="2493"/>
            <ac:spMk id="16" creationId="{6C2BB713-9637-4B9B-938F-E9768876782A}"/>
          </ac:spMkLst>
        </pc:spChg>
        <pc:spChg chg="del">
          <ac:chgData name="Aurelien Domont" userId="6da7715ce44349b3" providerId="LiveId" clId="{EB96D462-0798-4F2A-A2A8-8BDE27500008}" dt="2023-10-04T03:18:58.060" v="904" actId="478"/>
          <ac:spMkLst>
            <pc:docMk/>
            <pc:sldMk cId="3219583305" sldId="2493"/>
            <ac:spMk id="18" creationId="{F03C6816-00CE-1208-10B7-1030D0761CF2}"/>
          </ac:spMkLst>
        </pc:spChg>
        <pc:spChg chg="del">
          <ac:chgData name="Aurelien Domont" userId="6da7715ce44349b3" providerId="LiveId" clId="{EB96D462-0798-4F2A-A2A8-8BDE27500008}" dt="2023-10-04T03:18:58.060" v="904" actId="478"/>
          <ac:spMkLst>
            <pc:docMk/>
            <pc:sldMk cId="3219583305" sldId="2493"/>
            <ac:spMk id="19" creationId="{AFBC29E4-48AB-6604-6F09-5B6C641F4DC8}"/>
          </ac:spMkLst>
        </pc:spChg>
        <pc:spChg chg="del">
          <ac:chgData name="Aurelien Domont" userId="6da7715ce44349b3" providerId="LiveId" clId="{EB96D462-0798-4F2A-A2A8-8BDE27500008}" dt="2023-10-04T03:18:58.060" v="904" actId="478"/>
          <ac:spMkLst>
            <pc:docMk/>
            <pc:sldMk cId="3219583305" sldId="2493"/>
            <ac:spMk id="20" creationId="{6B56998B-95E0-F77D-8CFB-676C9814801F}"/>
          </ac:spMkLst>
        </pc:spChg>
        <pc:spChg chg="del">
          <ac:chgData name="Aurelien Domont" userId="6da7715ce44349b3" providerId="LiveId" clId="{EB96D462-0798-4F2A-A2A8-8BDE27500008}" dt="2023-10-04T03:18:58.060" v="904" actId="478"/>
          <ac:spMkLst>
            <pc:docMk/>
            <pc:sldMk cId="3219583305" sldId="2493"/>
            <ac:spMk id="21" creationId="{AFE2A620-4970-41B3-0846-C34DFAE9AB44}"/>
          </ac:spMkLst>
        </pc:spChg>
        <pc:spChg chg="del">
          <ac:chgData name="Aurelien Domont" userId="6da7715ce44349b3" providerId="LiveId" clId="{EB96D462-0798-4F2A-A2A8-8BDE27500008}" dt="2023-10-04T03:18:58.060" v="904" actId="478"/>
          <ac:spMkLst>
            <pc:docMk/>
            <pc:sldMk cId="3219583305" sldId="2493"/>
            <ac:spMk id="22" creationId="{C138A1FE-27AD-281C-5642-0FF74F36ED79}"/>
          </ac:spMkLst>
        </pc:spChg>
        <pc:spChg chg="del">
          <ac:chgData name="Aurelien Domont" userId="6da7715ce44349b3" providerId="LiveId" clId="{EB96D462-0798-4F2A-A2A8-8BDE27500008}" dt="2023-10-04T03:18:58.060" v="904" actId="478"/>
          <ac:spMkLst>
            <pc:docMk/>
            <pc:sldMk cId="3219583305" sldId="2493"/>
            <ac:spMk id="23" creationId="{081002AC-F33A-027D-0043-27F39E65D9D5}"/>
          </ac:spMkLst>
        </pc:spChg>
        <pc:spChg chg="del">
          <ac:chgData name="Aurelien Domont" userId="6da7715ce44349b3" providerId="LiveId" clId="{EB96D462-0798-4F2A-A2A8-8BDE27500008}" dt="2023-10-04T03:18:58.060" v="904" actId="478"/>
          <ac:spMkLst>
            <pc:docMk/>
            <pc:sldMk cId="3219583305" sldId="2493"/>
            <ac:spMk id="24" creationId="{5BE82994-CD96-0198-FD07-79E5BD435C3D}"/>
          </ac:spMkLst>
        </pc:spChg>
        <pc:spChg chg="del">
          <ac:chgData name="Aurelien Domont" userId="6da7715ce44349b3" providerId="LiveId" clId="{EB96D462-0798-4F2A-A2A8-8BDE27500008}" dt="2023-10-04T03:18:58.060" v="904" actId="478"/>
          <ac:spMkLst>
            <pc:docMk/>
            <pc:sldMk cId="3219583305" sldId="2493"/>
            <ac:spMk id="32" creationId="{77C8B9FE-5149-44A2-9C03-07D804D83E7E}"/>
          </ac:spMkLst>
        </pc:spChg>
        <pc:spChg chg="del">
          <ac:chgData name="Aurelien Domont" userId="6da7715ce44349b3" providerId="LiveId" clId="{EB96D462-0798-4F2A-A2A8-8BDE27500008}" dt="2023-10-04T03:19:00.481" v="905" actId="478"/>
          <ac:spMkLst>
            <pc:docMk/>
            <pc:sldMk cId="3219583305" sldId="2493"/>
            <ac:spMk id="35" creationId="{B72537B4-8AC0-83C5-44F7-2B1FC430F691}"/>
          </ac:spMkLst>
        </pc:spChg>
        <pc:spChg chg="del">
          <ac:chgData name="Aurelien Domont" userId="6da7715ce44349b3" providerId="LiveId" clId="{EB96D462-0798-4F2A-A2A8-8BDE27500008}" dt="2023-10-04T03:19:00.481" v="905" actId="478"/>
          <ac:spMkLst>
            <pc:docMk/>
            <pc:sldMk cId="3219583305" sldId="2493"/>
            <ac:spMk id="36" creationId="{35AFB243-4F77-599A-D3A2-A49031AAF57A}"/>
          </ac:spMkLst>
        </pc:spChg>
        <pc:spChg chg="del">
          <ac:chgData name="Aurelien Domont" userId="6da7715ce44349b3" providerId="LiveId" clId="{EB96D462-0798-4F2A-A2A8-8BDE27500008}" dt="2023-10-04T03:19:00.481" v="905" actId="478"/>
          <ac:spMkLst>
            <pc:docMk/>
            <pc:sldMk cId="3219583305" sldId="2493"/>
            <ac:spMk id="37" creationId="{14EC2043-7710-580F-1276-4F179E384446}"/>
          </ac:spMkLst>
        </pc:spChg>
        <pc:spChg chg="del">
          <ac:chgData name="Aurelien Domont" userId="6da7715ce44349b3" providerId="LiveId" clId="{EB96D462-0798-4F2A-A2A8-8BDE27500008}" dt="2023-10-04T03:19:00.481" v="905" actId="478"/>
          <ac:spMkLst>
            <pc:docMk/>
            <pc:sldMk cId="3219583305" sldId="2493"/>
            <ac:spMk id="38" creationId="{1E0E70CC-85C1-365B-244E-8289C8A69B30}"/>
          </ac:spMkLst>
        </pc:spChg>
        <pc:spChg chg="del">
          <ac:chgData name="Aurelien Domont" userId="6da7715ce44349b3" providerId="LiveId" clId="{EB96D462-0798-4F2A-A2A8-8BDE27500008}" dt="2023-10-04T03:19:00.481" v="905" actId="478"/>
          <ac:spMkLst>
            <pc:docMk/>
            <pc:sldMk cId="3219583305" sldId="2493"/>
            <ac:spMk id="39" creationId="{577FFF82-D32A-A088-E7D5-41F1EF02EA36}"/>
          </ac:spMkLst>
        </pc:spChg>
        <pc:spChg chg="del">
          <ac:chgData name="Aurelien Domont" userId="6da7715ce44349b3" providerId="LiveId" clId="{EB96D462-0798-4F2A-A2A8-8BDE27500008}" dt="2023-10-04T03:19:00.481" v="905" actId="478"/>
          <ac:spMkLst>
            <pc:docMk/>
            <pc:sldMk cId="3219583305" sldId="2493"/>
            <ac:spMk id="40" creationId="{8F2F3D1B-95FB-3A26-CD49-AD3A1AA34471}"/>
          </ac:spMkLst>
        </pc:spChg>
        <pc:spChg chg="del">
          <ac:chgData name="Aurelien Domont" userId="6da7715ce44349b3" providerId="LiveId" clId="{EB96D462-0798-4F2A-A2A8-8BDE27500008}" dt="2023-10-04T03:19:00.481" v="905" actId="478"/>
          <ac:spMkLst>
            <pc:docMk/>
            <pc:sldMk cId="3219583305" sldId="2493"/>
            <ac:spMk id="41" creationId="{76CD55CD-DB43-B844-A8AC-B8E9AAB43CCC}"/>
          </ac:spMkLst>
        </pc:spChg>
        <pc:spChg chg="del">
          <ac:chgData name="Aurelien Domont" userId="6da7715ce44349b3" providerId="LiveId" clId="{EB96D462-0798-4F2A-A2A8-8BDE27500008}" dt="2023-10-04T03:19:00.481" v="905" actId="478"/>
          <ac:spMkLst>
            <pc:docMk/>
            <pc:sldMk cId="3219583305" sldId="2493"/>
            <ac:spMk id="42" creationId="{38C7DECD-5D79-FBD1-E653-792ED65E8EAF}"/>
          </ac:spMkLst>
        </pc:spChg>
      </pc:sldChg>
      <pc:sldChg chg="add del">
        <pc:chgData name="Aurelien Domont" userId="6da7715ce44349b3" providerId="LiveId" clId="{EB96D462-0798-4F2A-A2A8-8BDE27500008}" dt="2023-10-05T02:42:11.041" v="1116" actId="47"/>
        <pc:sldMkLst>
          <pc:docMk/>
          <pc:sldMk cId="1386714526" sldId="2494"/>
        </pc:sldMkLst>
      </pc:sldChg>
      <pc:sldChg chg="add del">
        <pc:chgData name="Aurelien Domont" userId="6da7715ce44349b3" providerId="LiveId" clId="{EB96D462-0798-4F2A-A2A8-8BDE27500008}" dt="2023-10-05T02:34:17.017" v="1001"/>
        <pc:sldMkLst>
          <pc:docMk/>
          <pc:sldMk cId="1588427763" sldId="2495"/>
        </pc:sldMkLst>
      </pc:sldChg>
    </pc:docChg>
  </pc:docChgLst>
  <pc:docChgLst>
    <pc:chgData name="Aurelien Domont" userId="6da7715ce44349b3" providerId="LiveId" clId="{3AB14DF8-B366-45AD-84D4-7A0DF92D521A}"/>
    <pc:docChg chg="undo custSel delSld modSld sldOrd modMainMaster">
      <pc:chgData name="Aurelien Domont" userId="6da7715ce44349b3" providerId="LiveId" clId="{3AB14DF8-B366-45AD-84D4-7A0DF92D521A}" dt="2022-10-05T04:48:17.242" v="198" actId="167"/>
      <pc:docMkLst>
        <pc:docMk/>
      </pc:docMkLst>
      <pc:sldChg chg="modSp mod">
        <pc:chgData name="Aurelien Domont" userId="6da7715ce44349b3" providerId="LiveId" clId="{3AB14DF8-B366-45AD-84D4-7A0DF92D521A}" dt="2022-10-05T04:34:23.138" v="157" actId="113"/>
        <pc:sldMkLst>
          <pc:docMk/>
          <pc:sldMk cId="3131901387" sldId="256"/>
        </pc:sldMkLst>
        <pc:spChg chg="mod">
          <ac:chgData name="Aurelien Domont" userId="6da7715ce44349b3" providerId="LiveId" clId="{3AB14DF8-B366-45AD-84D4-7A0DF92D521A}" dt="2022-10-05T04:34:23.138" v="157" actId="113"/>
          <ac:spMkLst>
            <pc:docMk/>
            <pc:sldMk cId="3131901387" sldId="256"/>
            <ac:spMk id="2" creationId="{5261080C-C60C-4746-B6B1-A9A4FFA86785}"/>
          </ac:spMkLst>
        </pc:spChg>
      </pc:sldChg>
      <pc:sldChg chg="del">
        <pc:chgData name="Aurelien Domont" userId="6da7715ce44349b3" providerId="LiveId" clId="{3AB14DF8-B366-45AD-84D4-7A0DF92D521A}" dt="2022-10-05T03:50:43.186" v="1" actId="47"/>
        <pc:sldMkLst>
          <pc:docMk/>
          <pc:sldMk cId="3692499981" sldId="1597"/>
        </pc:sldMkLst>
      </pc:sldChg>
      <pc:sldChg chg="del">
        <pc:chgData name="Aurelien Domont" userId="6da7715ce44349b3" providerId="LiveId" clId="{3AB14DF8-B366-45AD-84D4-7A0DF92D521A}" dt="2022-10-05T03:50:41.158" v="0" actId="47"/>
        <pc:sldMkLst>
          <pc:docMk/>
          <pc:sldMk cId="1754585881" sldId="1598"/>
        </pc:sldMkLst>
      </pc:sldChg>
      <pc:sldChg chg="del">
        <pc:chgData name="Aurelien Domont" userId="6da7715ce44349b3" providerId="LiveId" clId="{3AB14DF8-B366-45AD-84D4-7A0DF92D521A}" dt="2022-10-05T03:50:41.158" v="0" actId="47"/>
        <pc:sldMkLst>
          <pc:docMk/>
          <pc:sldMk cId="748962572" sldId="1599"/>
        </pc:sldMkLst>
      </pc:sldChg>
      <pc:sldChg chg="modSp">
        <pc:chgData name="Aurelien Domont" userId="6da7715ce44349b3" providerId="LiveId" clId="{3AB14DF8-B366-45AD-84D4-7A0DF92D521A}" dt="2022-10-05T04:29:53.973" v="2"/>
        <pc:sldMkLst>
          <pc:docMk/>
          <pc:sldMk cId="2853806433" sldId="1600"/>
        </pc:sldMkLst>
        <pc:spChg chg="mod">
          <ac:chgData name="Aurelien Domont" userId="6da7715ce44349b3" providerId="LiveId" clId="{3AB14DF8-B366-45AD-84D4-7A0DF92D521A}" dt="2022-10-05T04:29:53.973" v="2"/>
          <ac:spMkLst>
            <pc:docMk/>
            <pc:sldMk cId="2853806433" sldId="1600"/>
            <ac:spMk id="8" creationId="{3D029769-9B2F-4A51-8446-2206A9A2EF30}"/>
          </ac:spMkLst>
        </pc:spChg>
      </pc:sldChg>
      <pc:sldChg chg="modSp">
        <pc:chgData name="Aurelien Domont" userId="6da7715ce44349b3" providerId="LiveId" clId="{3AB14DF8-B366-45AD-84D4-7A0DF92D521A}" dt="2022-10-05T04:29:53.973" v="2"/>
        <pc:sldMkLst>
          <pc:docMk/>
          <pc:sldMk cId="1675062303" sldId="1929"/>
        </pc:sldMkLst>
        <pc:spChg chg="mod">
          <ac:chgData name="Aurelien Domont" userId="6da7715ce44349b3" providerId="LiveId" clId="{3AB14DF8-B366-45AD-84D4-7A0DF92D521A}" dt="2022-10-05T04:29:53.973" v="2"/>
          <ac:spMkLst>
            <pc:docMk/>
            <pc:sldMk cId="1675062303" sldId="1929"/>
            <ac:spMk id="3" creationId="{CE2529A3-BA97-486F-9E02-8DFAAA7D8D38}"/>
          </ac:spMkLst>
        </pc:spChg>
      </pc:sldChg>
      <pc:sldChg chg="addSp delSp modSp mod">
        <pc:chgData name="Aurelien Domont" userId="6da7715ce44349b3" providerId="LiveId" clId="{3AB14DF8-B366-45AD-84D4-7A0DF92D521A}" dt="2022-10-05T04:48:17.242" v="198" actId="167"/>
        <pc:sldMkLst>
          <pc:docMk/>
          <pc:sldMk cId="471658671" sldId="1930"/>
        </pc:sldMkLst>
        <pc:spChg chg="mod">
          <ac:chgData name="Aurelien Domont" userId="6da7715ce44349b3" providerId="LiveId" clId="{3AB14DF8-B366-45AD-84D4-7A0DF92D521A}" dt="2022-10-05T04:29:53.973" v="2"/>
          <ac:spMkLst>
            <pc:docMk/>
            <pc:sldMk cId="471658671" sldId="1930"/>
            <ac:spMk id="3" creationId="{CE2529A3-BA97-486F-9E02-8DFAAA7D8D38}"/>
          </ac:spMkLst>
        </pc:spChg>
        <pc:spChg chg="mod">
          <ac:chgData name="Aurelien Domont" userId="6da7715ce44349b3" providerId="LiveId" clId="{3AB14DF8-B366-45AD-84D4-7A0DF92D521A}" dt="2022-10-05T04:33:44.684" v="132" actId="313"/>
          <ac:spMkLst>
            <pc:docMk/>
            <pc:sldMk cId="471658671" sldId="1930"/>
            <ac:spMk id="16" creationId="{6C2BB713-9637-4B9B-938F-E9768876782A}"/>
          </ac:spMkLst>
        </pc:spChg>
        <pc:spChg chg="del mod">
          <ac:chgData name="Aurelien Domont" userId="6da7715ce44349b3" providerId="LiveId" clId="{3AB14DF8-B366-45AD-84D4-7A0DF92D521A}" dt="2022-10-05T04:38:09.738" v="163" actId="478"/>
          <ac:spMkLst>
            <pc:docMk/>
            <pc:sldMk cId="471658671" sldId="1930"/>
            <ac:spMk id="115" creationId="{47E6D793-402B-40C3-ADA8-A8A0AFB9A327}"/>
          </ac:spMkLst>
        </pc:spChg>
        <pc:picChg chg="del">
          <ac:chgData name="Aurelien Domont" userId="6da7715ce44349b3" providerId="LiveId" clId="{3AB14DF8-B366-45AD-84D4-7A0DF92D521A}" dt="2022-10-05T04:46:42.575" v="182" actId="478"/>
          <ac:picMkLst>
            <pc:docMk/>
            <pc:sldMk cId="471658671" sldId="1930"/>
            <ac:picMk id="4" creationId="{B2680DA5-5D4F-4332-A7E2-6125046E51C0}"/>
          </ac:picMkLst>
        </pc:picChg>
        <pc:picChg chg="add del mod ord">
          <ac:chgData name="Aurelien Domont" userId="6da7715ce44349b3" providerId="LiveId" clId="{3AB14DF8-B366-45AD-84D4-7A0DF92D521A}" dt="2022-10-05T04:48:05.057" v="191" actId="478"/>
          <ac:picMkLst>
            <pc:docMk/>
            <pc:sldMk cId="471658671" sldId="1930"/>
            <ac:picMk id="5" creationId="{F71381D4-EACA-432E-5E7E-A26429B96E30}"/>
          </ac:picMkLst>
        </pc:picChg>
        <pc:picChg chg="add mod ord">
          <ac:chgData name="Aurelien Domont" userId="6da7715ce44349b3" providerId="LiveId" clId="{3AB14DF8-B366-45AD-84D4-7A0DF92D521A}" dt="2022-10-05T04:48:17.242" v="198" actId="167"/>
          <ac:picMkLst>
            <pc:docMk/>
            <pc:sldMk cId="471658671" sldId="1930"/>
            <ac:picMk id="7" creationId="{8AD36831-1398-6A76-EC8E-E9312BC604FE}"/>
          </ac:picMkLst>
        </pc:picChg>
        <pc:picChg chg="mod">
          <ac:chgData name="Aurelien Domont" userId="6da7715ce44349b3" providerId="LiveId" clId="{3AB14DF8-B366-45AD-84D4-7A0DF92D521A}" dt="2022-10-05T04:47:29.827" v="190" actId="1440"/>
          <ac:picMkLst>
            <pc:docMk/>
            <pc:sldMk cId="471658671" sldId="1930"/>
            <ac:picMk id="114" creationId="{7A1BDBA4-D060-4EBE-B6E3-8079EB2C3297}"/>
          </ac:picMkLst>
        </pc:picChg>
      </pc:sldChg>
      <pc:sldChg chg="del">
        <pc:chgData name="Aurelien Domont" userId="6da7715ce44349b3" providerId="LiveId" clId="{3AB14DF8-B366-45AD-84D4-7A0DF92D521A}" dt="2022-10-05T03:50:41.158" v="0" actId="47"/>
        <pc:sldMkLst>
          <pc:docMk/>
          <pc:sldMk cId="3028091984" sldId="2146"/>
        </pc:sldMkLst>
      </pc:sldChg>
      <pc:sldChg chg="addSp delSp modSp mod">
        <pc:chgData name="Aurelien Domont" userId="6da7715ce44349b3" providerId="LiveId" clId="{3AB14DF8-B366-45AD-84D4-7A0DF92D521A}" dt="2022-10-05T04:30:31.724" v="12" actId="207"/>
        <pc:sldMkLst>
          <pc:docMk/>
          <pc:sldMk cId="423301223" sldId="2148"/>
        </pc:sldMkLst>
        <pc:spChg chg="mod">
          <ac:chgData name="Aurelien Domont" userId="6da7715ce44349b3" providerId="LiveId" clId="{3AB14DF8-B366-45AD-84D4-7A0DF92D521A}" dt="2022-10-05T04:29:53.973" v="2"/>
          <ac:spMkLst>
            <pc:docMk/>
            <pc:sldMk cId="423301223" sldId="2148"/>
            <ac:spMk id="3" creationId="{CE2529A3-BA97-486F-9E02-8DFAAA7D8D38}"/>
          </ac:spMkLst>
        </pc:spChg>
        <pc:spChg chg="mod">
          <ac:chgData name="Aurelien Domont" userId="6da7715ce44349b3" providerId="LiveId" clId="{3AB14DF8-B366-45AD-84D4-7A0DF92D521A}" dt="2022-10-05T04:29:53.973" v="2"/>
          <ac:spMkLst>
            <pc:docMk/>
            <pc:sldMk cId="423301223" sldId="2148"/>
            <ac:spMk id="16" creationId="{6C2BB713-9637-4B9B-938F-E9768876782A}"/>
          </ac:spMkLst>
        </pc:spChg>
        <pc:graphicFrameChg chg="add del modGraphic">
          <ac:chgData name="Aurelien Domont" userId="6da7715ce44349b3" providerId="LiveId" clId="{3AB14DF8-B366-45AD-84D4-7A0DF92D521A}" dt="2022-10-05T04:30:31.724" v="12" actId="207"/>
          <ac:graphicFrameMkLst>
            <pc:docMk/>
            <pc:sldMk cId="423301223" sldId="2148"/>
            <ac:graphicFrameMk id="6" creationId="{5C5525D8-81F1-4A24-A0BB-F27EAE382C06}"/>
          </ac:graphicFrameMkLst>
        </pc:graphicFrameChg>
      </pc:sldChg>
      <pc:sldChg chg="modSp mod">
        <pc:chgData name="Aurelien Domont" userId="6da7715ce44349b3" providerId="LiveId" clId="{3AB14DF8-B366-45AD-84D4-7A0DF92D521A}" dt="2022-10-05T04:30:22.186" v="7" actId="208"/>
        <pc:sldMkLst>
          <pc:docMk/>
          <pc:sldMk cId="1324642353" sldId="2152"/>
        </pc:sldMkLst>
        <pc:spChg chg="mod">
          <ac:chgData name="Aurelien Domont" userId="6da7715ce44349b3" providerId="LiveId" clId="{3AB14DF8-B366-45AD-84D4-7A0DF92D521A}" dt="2022-10-05T04:29:53.973" v="2"/>
          <ac:spMkLst>
            <pc:docMk/>
            <pc:sldMk cId="1324642353" sldId="2152"/>
            <ac:spMk id="16" creationId="{6C2BB713-9637-4B9B-938F-E9768876782A}"/>
          </ac:spMkLst>
        </pc:spChg>
        <pc:picChg chg="mod">
          <ac:chgData name="Aurelien Domont" userId="6da7715ce44349b3" providerId="LiveId" clId="{3AB14DF8-B366-45AD-84D4-7A0DF92D521A}" dt="2022-10-05T04:30:17.721" v="6" actId="207"/>
          <ac:picMkLst>
            <pc:docMk/>
            <pc:sldMk cId="1324642353" sldId="2152"/>
            <ac:picMk id="3" creationId="{177C207C-E9C5-4F72-BD2F-D9590E622F5E}"/>
          </ac:picMkLst>
        </pc:picChg>
        <pc:picChg chg="mod">
          <ac:chgData name="Aurelien Domont" userId="6da7715ce44349b3" providerId="LiveId" clId="{3AB14DF8-B366-45AD-84D4-7A0DF92D521A}" dt="2022-10-05T04:30:17.721" v="6" actId="207"/>
          <ac:picMkLst>
            <pc:docMk/>
            <pc:sldMk cId="1324642353" sldId="2152"/>
            <ac:picMk id="4" creationId="{8BFAD7E0-FAF3-4A7F-85D7-23D126159742}"/>
          </ac:picMkLst>
        </pc:picChg>
        <pc:picChg chg="mod">
          <ac:chgData name="Aurelien Domont" userId="6da7715ce44349b3" providerId="LiveId" clId="{3AB14DF8-B366-45AD-84D4-7A0DF92D521A}" dt="2022-10-05T04:30:17.721" v="6" actId="207"/>
          <ac:picMkLst>
            <pc:docMk/>
            <pc:sldMk cId="1324642353" sldId="2152"/>
            <ac:picMk id="5" creationId="{2364D466-67B2-4F3D-B207-44E6F410B178}"/>
          </ac:picMkLst>
        </pc:picChg>
        <pc:picChg chg="mod">
          <ac:chgData name="Aurelien Domont" userId="6da7715ce44349b3" providerId="LiveId" clId="{3AB14DF8-B366-45AD-84D4-7A0DF92D521A}" dt="2022-10-05T04:30:22.186" v="7" actId="208"/>
          <ac:picMkLst>
            <pc:docMk/>
            <pc:sldMk cId="1324642353" sldId="2152"/>
            <ac:picMk id="8" creationId="{7AE82408-0EBB-4A84-8485-6C50815A63F2}"/>
          </ac:picMkLst>
        </pc:picChg>
        <pc:picChg chg="mod">
          <ac:chgData name="Aurelien Domont" userId="6da7715ce44349b3" providerId="LiveId" clId="{3AB14DF8-B366-45AD-84D4-7A0DF92D521A}" dt="2022-10-05T04:30:17.721" v="6" actId="207"/>
          <ac:picMkLst>
            <pc:docMk/>
            <pc:sldMk cId="1324642353" sldId="2152"/>
            <ac:picMk id="9" creationId="{D861C705-A534-40EE-AF44-8BEF75E73C3A}"/>
          </ac:picMkLst>
        </pc:picChg>
      </pc:sldChg>
      <pc:sldChg chg="modSp mod">
        <pc:chgData name="Aurelien Domont" userId="6da7715ce44349b3" providerId="LiveId" clId="{3AB14DF8-B366-45AD-84D4-7A0DF92D521A}" dt="2022-10-05T04:37:31.899" v="160" actId="20577"/>
        <pc:sldMkLst>
          <pc:docMk/>
          <pc:sldMk cId="2226532108" sldId="2153"/>
        </pc:sldMkLst>
        <pc:spChg chg="mod">
          <ac:chgData name="Aurelien Domont" userId="6da7715ce44349b3" providerId="LiveId" clId="{3AB14DF8-B366-45AD-84D4-7A0DF92D521A}" dt="2022-10-05T04:29:53.973" v="2"/>
          <ac:spMkLst>
            <pc:docMk/>
            <pc:sldMk cId="2226532108" sldId="2153"/>
            <ac:spMk id="16" creationId="{6C2BB713-9637-4B9B-938F-E9768876782A}"/>
          </ac:spMkLst>
        </pc:spChg>
        <pc:spChg chg="mod">
          <ac:chgData name="Aurelien Domont" userId="6da7715ce44349b3" providerId="LiveId" clId="{3AB14DF8-B366-45AD-84D4-7A0DF92D521A}" dt="2022-10-05T04:37:31.899" v="160" actId="20577"/>
          <ac:spMkLst>
            <pc:docMk/>
            <pc:sldMk cId="2226532108" sldId="2153"/>
            <ac:spMk id="33" creationId="{A7501CC5-3F4A-44E0-B2B8-6ED55A47C121}"/>
          </ac:spMkLst>
        </pc:spChg>
        <pc:spChg chg="mod">
          <ac:chgData name="Aurelien Domont" userId="6da7715ce44349b3" providerId="LiveId" clId="{3AB14DF8-B366-45AD-84D4-7A0DF92D521A}" dt="2022-10-05T04:36:43.517" v="158" actId="20577"/>
          <ac:spMkLst>
            <pc:docMk/>
            <pc:sldMk cId="2226532108" sldId="2153"/>
            <ac:spMk id="37" creationId="{22049F5D-80E0-4952-8C95-093181A7EF1C}"/>
          </ac:spMkLst>
        </pc:spChg>
      </pc:sldChg>
      <pc:sldChg chg="modSp mod">
        <pc:chgData name="Aurelien Domont" userId="6da7715ce44349b3" providerId="LiveId" clId="{3AB14DF8-B366-45AD-84D4-7A0DF92D521A}" dt="2022-10-05T04:37:43.260" v="161" actId="20577"/>
        <pc:sldMkLst>
          <pc:docMk/>
          <pc:sldMk cId="3613236081" sldId="2154"/>
        </pc:sldMkLst>
        <pc:spChg chg="mod">
          <ac:chgData name="Aurelien Domont" userId="6da7715ce44349b3" providerId="LiveId" clId="{3AB14DF8-B366-45AD-84D4-7A0DF92D521A}" dt="2022-10-05T04:29:53.973" v="2"/>
          <ac:spMkLst>
            <pc:docMk/>
            <pc:sldMk cId="3613236081" sldId="2154"/>
            <ac:spMk id="3" creationId="{CE2529A3-BA97-486F-9E02-8DFAAA7D8D38}"/>
          </ac:spMkLst>
        </pc:spChg>
        <pc:spChg chg="mod">
          <ac:chgData name="Aurelien Domont" userId="6da7715ce44349b3" providerId="LiveId" clId="{3AB14DF8-B366-45AD-84D4-7A0DF92D521A}" dt="2022-10-05T04:37:43.260" v="161" actId="20577"/>
          <ac:spMkLst>
            <pc:docMk/>
            <pc:sldMk cId="3613236081" sldId="2154"/>
            <ac:spMk id="16" creationId="{6C2BB713-9637-4B9B-938F-E9768876782A}"/>
          </ac:spMkLst>
        </pc:spChg>
      </pc:sldChg>
      <pc:sldChg chg="delSp modSp mod ord">
        <pc:chgData name="Aurelien Domont" userId="6da7715ce44349b3" providerId="LiveId" clId="{3AB14DF8-B366-45AD-84D4-7A0DF92D521A}" dt="2022-10-05T04:45:27.205" v="181"/>
        <pc:sldMkLst>
          <pc:docMk/>
          <pc:sldMk cId="3175191540" sldId="2155"/>
        </pc:sldMkLst>
        <pc:spChg chg="mod">
          <ac:chgData name="Aurelien Domont" userId="6da7715ce44349b3" providerId="LiveId" clId="{3AB14DF8-B366-45AD-84D4-7A0DF92D521A}" dt="2022-10-05T04:29:53.973" v="2"/>
          <ac:spMkLst>
            <pc:docMk/>
            <pc:sldMk cId="3175191540" sldId="2155"/>
            <ac:spMk id="3" creationId="{CE2529A3-BA97-486F-9E02-8DFAAA7D8D38}"/>
          </ac:spMkLst>
        </pc:spChg>
        <pc:spChg chg="del">
          <ac:chgData name="Aurelien Domont" userId="6da7715ce44349b3" providerId="LiveId" clId="{3AB14DF8-B366-45AD-84D4-7A0DF92D521A}" dt="2022-10-05T04:31:46.760" v="19" actId="478"/>
          <ac:spMkLst>
            <pc:docMk/>
            <pc:sldMk cId="3175191540" sldId="2155"/>
            <ac:spMk id="6" creationId="{DEB285D0-8F6C-4E31-8EF4-24D043585532}"/>
          </ac:spMkLst>
        </pc:spChg>
        <pc:spChg chg="mod">
          <ac:chgData name="Aurelien Domont" userId="6da7715ce44349b3" providerId="LiveId" clId="{3AB14DF8-B366-45AD-84D4-7A0DF92D521A}" dt="2022-10-05T04:37:57.945" v="162" actId="14100"/>
          <ac:spMkLst>
            <pc:docMk/>
            <pc:sldMk cId="3175191540" sldId="2155"/>
            <ac:spMk id="16" creationId="{6C2BB713-9637-4B9B-938F-E9768876782A}"/>
          </ac:spMkLst>
        </pc:spChg>
        <pc:spChg chg="mod">
          <ac:chgData name="Aurelien Domont" userId="6da7715ce44349b3" providerId="LiveId" clId="{3AB14DF8-B366-45AD-84D4-7A0DF92D521A}" dt="2022-10-05T04:45:06.842" v="178" actId="20577"/>
          <ac:spMkLst>
            <pc:docMk/>
            <pc:sldMk cId="3175191540" sldId="2155"/>
            <ac:spMk id="58" creationId="{E7835114-5805-4825-95F0-387BA34A2F04}"/>
          </ac:spMkLst>
        </pc:spChg>
        <pc:spChg chg="mod">
          <ac:chgData name="Aurelien Domont" userId="6da7715ce44349b3" providerId="LiveId" clId="{3AB14DF8-B366-45AD-84D4-7A0DF92D521A}" dt="2022-10-05T04:45:27.205" v="181"/>
          <ac:spMkLst>
            <pc:docMk/>
            <pc:sldMk cId="3175191540" sldId="2155"/>
            <ac:spMk id="59" creationId="{EDA9BC40-59BA-4726-8DEB-1FF6CF517B5E}"/>
          </ac:spMkLst>
        </pc:spChg>
        <pc:spChg chg="mod">
          <ac:chgData name="Aurelien Domont" userId="6da7715ce44349b3" providerId="LiveId" clId="{3AB14DF8-B366-45AD-84D4-7A0DF92D521A}" dt="2022-10-05T04:45:12.907" v="179"/>
          <ac:spMkLst>
            <pc:docMk/>
            <pc:sldMk cId="3175191540" sldId="2155"/>
            <ac:spMk id="60" creationId="{1BBCD685-4F11-4A6A-A314-ED3EED32F807}"/>
          </ac:spMkLst>
        </pc:spChg>
        <pc:spChg chg="mod">
          <ac:chgData name="Aurelien Domont" userId="6da7715ce44349b3" providerId="LiveId" clId="{3AB14DF8-B366-45AD-84D4-7A0DF92D521A}" dt="2022-10-05T04:45:17.233" v="180"/>
          <ac:spMkLst>
            <pc:docMk/>
            <pc:sldMk cId="3175191540" sldId="2155"/>
            <ac:spMk id="61" creationId="{90562318-8F22-4950-AAFD-8BD4A7FD385A}"/>
          </ac:spMkLst>
        </pc:spChg>
        <pc:spChg chg="del">
          <ac:chgData name="Aurelien Domont" userId="6da7715ce44349b3" providerId="LiveId" clId="{3AB14DF8-B366-45AD-84D4-7A0DF92D521A}" dt="2022-10-05T04:31:46.760" v="19" actId="478"/>
          <ac:spMkLst>
            <pc:docMk/>
            <pc:sldMk cId="3175191540" sldId="2155"/>
            <ac:spMk id="131" creationId="{C76B7FBD-575B-4C5A-8FB1-1F63D05FA9D3}"/>
          </ac:spMkLst>
        </pc:spChg>
        <pc:spChg chg="del">
          <ac:chgData name="Aurelien Domont" userId="6da7715ce44349b3" providerId="LiveId" clId="{3AB14DF8-B366-45AD-84D4-7A0DF92D521A}" dt="2022-10-05T04:31:46.760" v="19" actId="478"/>
          <ac:spMkLst>
            <pc:docMk/>
            <pc:sldMk cId="3175191540" sldId="2155"/>
            <ac:spMk id="132" creationId="{C4702D20-AE96-4591-B64C-5F6124810436}"/>
          </ac:spMkLst>
        </pc:spChg>
        <pc:spChg chg="del">
          <ac:chgData name="Aurelien Domont" userId="6da7715ce44349b3" providerId="LiveId" clId="{3AB14DF8-B366-45AD-84D4-7A0DF92D521A}" dt="2022-10-05T04:31:46.760" v="19" actId="478"/>
          <ac:spMkLst>
            <pc:docMk/>
            <pc:sldMk cId="3175191540" sldId="2155"/>
            <ac:spMk id="133" creationId="{3C778625-C3D1-48F2-9A33-8781BDF318D9}"/>
          </ac:spMkLst>
        </pc:spChg>
        <pc:cxnChg chg="mod">
          <ac:chgData name="Aurelien Domont" userId="6da7715ce44349b3" providerId="LiveId" clId="{3AB14DF8-B366-45AD-84D4-7A0DF92D521A}" dt="2022-10-05T04:31:12.440" v="13" actId="208"/>
          <ac:cxnSpMkLst>
            <pc:docMk/>
            <pc:sldMk cId="3175191540" sldId="2155"/>
            <ac:cxnSpMk id="54" creationId="{3E366202-1516-4E2B-8C02-57AD0E3DE466}"/>
          </ac:cxnSpMkLst>
        </pc:cxnChg>
      </pc:sldChg>
      <pc:sldMasterChg chg="addSp modSldLayout">
        <pc:chgData name="Aurelien Domont" userId="6da7715ce44349b3" providerId="LiveId" clId="{3AB14DF8-B366-45AD-84D4-7A0DF92D521A}" dt="2022-10-05T04:29:53.973" v="2"/>
        <pc:sldMasterMkLst>
          <pc:docMk/>
          <pc:sldMasterMk cId="3188346754" sldId="2147483670"/>
        </pc:sldMasterMkLst>
        <pc:spChg chg="add">
          <ac:chgData name="Aurelien Domont" userId="6da7715ce44349b3" providerId="LiveId" clId="{3AB14DF8-B366-45AD-84D4-7A0DF92D521A}" dt="2022-10-05T04:29:53.973" v="2"/>
          <ac:spMkLst>
            <pc:docMk/>
            <pc:sldMasterMk cId="3188346754" sldId="2147483670"/>
            <ac:spMk id="10" creationId="{DBEEA355-D1F0-0D5C-2025-07DD0215DE0A}"/>
          </ac:spMkLst>
        </pc:spChg>
        <pc:spChg chg="add">
          <ac:chgData name="Aurelien Domont" userId="6da7715ce44349b3" providerId="LiveId" clId="{3AB14DF8-B366-45AD-84D4-7A0DF92D521A}" dt="2022-10-05T04:29:53.973" v="2"/>
          <ac:spMkLst>
            <pc:docMk/>
            <pc:sldMasterMk cId="3188346754" sldId="2147483670"/>
            <ac:spMk id="11" creationId="{C71EACBD-4F8A-10D8-8E2A-C34A2E826760}"/>
          </ac:spMkLst>
        </pc:spChg>
        <pc:graphicFrameChg chg="add">
          <ac:chgData name="Aurelien Domont" userId="6da7715ce44349b3" providerId="LiveId" clId="{3AB14DF8-B366-45AD-84D4-7A0DF92D521A}" dt="2022-10-05T04:29:53.973" v="2"/>
          <ac:graphicFrameMkLst>
            <pc:docMk/>
            <pc:sldMasterMk cId="3188346754" sldId="2147483670"/>
            <ac:graphicFrameMk id="4" creationId="{92A5B141-876E-2F89-8491-F1ADFCFB066F}"/>
          </ac:graphicFrameMkLst>
        </pc:graphicFrameChg>
        <pc:cxnChg chg="add">
          <ac:chgData name="Aurelien Domont" userId="6da7715ce44349b3" providerId="LiveId" clId="{3AB14DF8-B366-45AD-84D4-7A0DF92D521A}" dt="2022-10-05T04:29:53.973" v="2"/>
          <ac:cxnSpMkLst>
            <pc:docMk/>
            <pc:sldMasterMk cId="3188346754" sldId="2147483670"/>
            <ac:cxnSpMk id="12" creationId="{2A9BB3BA-DFC3-35FB-FADC-E78C152AAC95}"/>
          </ac:cxnSpMkLst>
        </pc:cxnChg>
        <pc:sldLayoutChg chg="addSp">
          <pc:chgData name="Aurelien Domont" userId="6da7715ce44349b3" providerId="LiveId" clId="{3AB14DF8-B366-45AD-84D4-7A0DF92D521A}" dt="2022-10-05T04:29:53.973" v="2"/>
          <pc:sldLayoutMkLst>
            <pc:docMk/>
            <pc:sldMasterMk cId="3188346754" sldId="2147483670"/>
            <pc:sldLayoutMk cId="2212532969" sldId="2147483671"/>
          </pc:sldLayoutMkLst>
          <pc:spChg chg="add">
            <ac:chgData name="Aurelien Domont" userId="6da7715ce44349b3" providerId="LiveId" clId="{3AB14DF8-B366-45AD-84D4-7A0DF92D521A}" dt="2022-10-05T04:29:53.973" v="2"/>
            <ac:spMkLst>
              <pc:docMk/>
              <pc:sldMasterMk cId="3188346754" sldId="2147483670"/>
              <pc:sldLayoutMk cId="2212532969" sldId="2147483671"/>
              <ac:spMk id="9" creationId="{DB2DE047-3167-03A1-9C1A-4E8BE6322A50}"/>
            </ac:spMkLst>
          </pc:spChg>
          <pc:spChg chg="add">
            <ac:chgData name="Aurelien Domont" userId="6da7715ce44349b3" providerId="LiveId" clId="{3AB14DF8-B366-45AD-84D4-7A0DF92D521A}" dt="2022-10-05T04:29:53.973" v="2"/>
            <ac:spMkLst>
              <pc:docMk/>
              <pc:sldMasterMk cId="3188346754" sldId="2147483670"/>
              <pc:sldLayoutMk cId="2212532969" sldId="2147483671"/>
              <ac:spMk id="10" creationId="{DBF13080-8264-78B6-2CD5-D2BDEE645640}"/>
            </ac:spMkLst>
          </pc:spChg>
          <pc:graphicFrameChg chg="add">
            <ac:chgData name="Aurelien Domont" userId="6da7715ce44349b3" providerId="LiveId" clId="{3AB14DF8-B366-45AD-84D4-7A0DF92D521A}" dt="2022-10-05T04:29:53.973" v="2"/>
            <ac:graphicFrameMkLst>
              <pc:docMk/>
              <pc:sldMasterMk cId="3188346754" sldId="2147483670"/>
              <pc:sldLayoutMk cId="2212532969" sldId="2147483671"/>
              <ac:graphicFrameMk id="8" creationId="{29DEE089-4400-3268-C153-4EE2D21D5636}"/>
            </ac:graphicFrameMkLst>
          </pc:graphicFrameChg>
        </pc:sldLayoutChg>
        <pc:sldLayoutChg chg="addSp">
          <pc:chgData name="Aurelien Domont" userId="6da7715ce44349b3" providerId="LiveId" clId="{3AB14DF8-B366-45AD-84D4-7A0DF92D521A}" dt="2022-10-05T04:29:53.973" v="2"/>
          <pc:sldLayoutMkLst>
            <pc:docMk/>
            <pc:sldMasterMk cId="3188346754" sldId="2147483670"/>
            <pc:sldLayoutMk cId="501314026" sldId="2147483672"/>
          </pc:sldLayoutMkLst>
          <pc:spChg chg="add">
            <ac:chgData name="Aurelien Domont" userId="6da7715ce44349b3" providerId="LiveId" clId="{3AB14DF8-B366-45AD-84D4-7A0DF92D521A}" dt="2022-10-05T04:29:53.973" v="2"/>
            <ac:spMkLst>
              <pc:docMk/>
              <pc:sldMasterMk cId="3188346754" sldId="2147483670"/>
              <pc:sldLayoutMk cId="501314026" sldId="2147483672"/>
              <ac:spMk id="5" creationId="{A659A658-F995-A50F-0B85-ABCAF5C17558}"/>
            </ac:spMkLst>
          </pc:spChg>
          <pc:spChg chg="add">
            <ac:chgData name="Aurelien Domont" userId="6da7715ce44349b3" providerId="LiveId" clId="{3AB14DF8-B366-45AD-84D4-7A0DF92D521A}" dt="2022-10-05T04:29:53.973" v="2"/>
            <ac:spMkLst>
              <pc:docMk/>
              <pc:sldMasterMk cId="3188346754" sldId="2147483670"/>
              <pc:sldLayoutMk cId="501314026" sldId="2147483672"/>
              <ac:spMk id="6" creationId="{B9DCC97E-73E8-1E89-A742-2F491444FB47}"/>
            </ac:spMkLst>
          </pc:spChg>
          <pc:graphicFrameChg chg="add">
            <ac:chgData name="Aurelien Domont" userId="6da7715ce44349b3" providerId="LiveId" clId="{3AB14DF8-B366-45AD-84D4-7A0DF92D521A}" dt="2022-10-05T04:29:53.973" v="2"/>
            <ac:graphicFrameMkLst>
              <pc:docMk/>
              <pc:sldMasterMk cId="3188346754" sldId="2147483670"/>
              <pc:sldLayoutMk cId="501314026" sldId="2147483672"/>
              <ac:graphicFrameMk id="4" creationId="{64F1BA8B-3C76-1881-4D71-458CBE8DF542}"/>
            </ac:graphicFrameMkLst>
          </pc:graphicFrameChg>
          <pc:cxnChg chg="add">
            <ac:chgData name="Aurelien Domont" userId="6da7715ce44349b3" providerId="LiveId" clId="{3AB14DF8-B366-45AD-84D4-7A0DF92D521A}" dt="2022-10-05T04:29:53.973" v="2"/>
            <ac:cxnSpMkLst>
              <pc:docMk/>
              <pc:sldMasterMk cId="3188346754" sldId="2147483670"/>
              <pc:sldLayoutMk cId="501314026" sldId="2147483672"/>
              <ac:cxnSpMk id="10" creationId="{A613510B-8B91-E1E2-6EB7-F9A509A2772A}"/>
            </ac:cxnSpMkLst>
          </pc:cxnChg>
        </pc:sldLayoutChg>
        <pc:sldLayoutChg chg="addSp">
          <pc:chgData name="Aurelien Domont" userId="6da7715ce44349b3" providerId="LiveId" clId="{3AB14DF8-B366-45AD-84D4-7A0DF92D521A}" dt="2022-10-05T04:29:53.973" v="2"/>
          <pc:sldLayoutMkLst>
            <pc:docMk/>
            <pc:sldMasterMk cId="3188346754" sldId="2147483670"/>
            <pc:sldLayoutMk cId="120653360" sldId="2147483673"/>
          </pc:sldLayoutMkLst>
          <pc:spChg chg="add">
            <ac:chgData name="Aurelien Domont" userId="6da7715ce44349b3" providerId="LiveId" clId="{3AB14DF8-B366-45AD-84D4-7A0DF92D521A}" dt="2022-10-05T04:29:53.973" v="2"/>
            <ac:spMkLst>
              <pc:docMk/>
              <pc:sldMasterMk cId="3188346754" sldId="2147483670"/>
              <pc:sldLayoutMk cId="120653360" sldId="2147483673"/>
              <ac:spMk id="6" creationId="{73F9D9C7-EACD-36E1-6290-F761784A4920}"/>
            </ac:spMkLst>
          </pc:spChg>
          <pc:spChg chg="add">
            <ac:chgData name="Aurelien Domont" userId="6da7715ce44349b3" providerId="LiveId" clId="{3AB14DF8-B366-45AD-84D4-7A0DF92D521A}" dt="2022-10-05T04:29:53.973" v="2"/>
            <ac:spMkLst>
              <pc:docMk/>
              <pc:sldMasterMk cId="3188346754" sldId="2147483670"/>
              <pc:sldLayoutMk cId="120653360" sldId="2147483673"/>
              <ac:spMk id="11" creationId="{52B32362-5A07-EDF1-A415-EA5A2BB8B554}"/>
            </ac:spMkLst>
          </pc:spChg>
          <pc:graphicFrameChg chg="add">
            <ac:chgData name="Aurelien Domont" userId="6da7715ce44349b3" providerId="LiveId" clId="{3AB14DF8-B366-45AD-84D4-7A0DF92D521A}" dt="2022-10-05T04:29:53.973" v="2"/>
            <ac:graphicFrameMkLst>
              <pc:docMk/>
              <pc:sldMasterMk cId="3188346754" sldId="2147483670"/>
              <pc:sldLayoutMk cId="120653360" sldId="2147483673"/>
              <ac:graphicFrameMk id="2" creationId="{EFA4A2CB-35E2-7737-7B4F-9CD218C4196A}"/>
            </ac:graphicFrameMkLst>
          </pc:graphicFrameChg>
          <pc:cxnChg chg="add">
            <ac:chgData name="Aurelien Domont" userId="6da7715ce44349b3" providerId="LiveId" clId="{3AB14DF8-B366-45AD-84D4-7A0DF92D521A}" dt="2022-10-05T04:29:53.973" v="2"/>
            <ac:cxnSpMkLst>
              <pc:docMk/>
              <pc:sldMasterMk cId="3188346754" sldId="2147483670"/>
              <pc:sldLayoutMk cId="120653360" sldId="2147483673"/>
              <ac:cxnSpMk id="12" creationId="{8070C0B0-2653-C6F7-3353-25E9E9AAF3D3}"/>
            </ac:cxnSpMkLst>
          </pc:cxnChg>
        </pc:sldLayoutChg>
        <pc:sldLayoutChg chg="addSp">
          <pc:chgData name="Aurelien Domont" userId="6da7715ce44349b3" providerId="LiveId" clId="{3AB14DF8-B366-45AD-84D4-7A0DF92D521A}" dt="2022-10-05T04:29:53.973" v="2"/>
          <pc:sldLayoutMkLst>
            <pc:docMk/>
            <pc:sldMasterMk cId="3188346754" sldId="2147483670"/>
            <pc:sldLayoutMk cId="3384280460" sldId="2147483675"/>
          </pc:sldLayoutMkLst>
          <pc:spChg chg="add">
            <ac:chgData name="Aurelien Domont" userId="6da7715ce44349b3" providerId="LiveId" clId="{3AB14DF8-B366-45AD-84D4-7A0DF92D521A}" dt="2022-10-05T04:29:53.973" v="2"/>
            <ac:spMkLst>
              <pc:docMk/>
              <pc:sldMasterMk cId="3188346754" sldId="2147483670"/>
              <pc:sldLayoutMk cId="3384280460" sldId="2147483675"/>
              <ac:spMk id="6" creationId="{5CCBAAF7-A8BA-3DFD-4DD1-CD5A38C41EFF}"/>
            </ac:spMkLst>
          </pc:spChg>
          <pc:spChg chg="add">
            <ac:chgData name="Aurelien Domont" userId="6da7715ce44349b3" providerId="LiveId" clId="{3AB14DF8-B366-45AD-84D4-7A0DF92D521A}" dt="2022-10-05T04:29:53.973" v="2"/>
            <ac:spMkLst>
              <pc:docMk/>
              <pc:sldMasterMk cId="3188346754" sldId="2147483670"/>
              <pc:sldLayoutMk cId="3384280460" sldId="2147483675"/>
              <ac:spMk id="10" creationId="{FC3BCB01-5E41-DE39-9BC2-C4783B7CCF30}"/>
            </ac:spMkLst>
          </pc:spChg>
          <pc:spChg chg="add">
            <ac:chgData name="Aurelien Domont" userId="6da7715ce44349b3" providerId="LiveId" clId="{3AB14DF8-B366-45AD-84D4-7A0DF92D521A}" dt="2022-10-05T04:29:53.973" v="2"/>
            <ac:spMkLst>
              <pc:docMk/>
              <pc:sldMasterMk cId="3188346754" sldId="2147483670"/>
              <pc:sldLayoutMk cId="3384280460" sldId="2147483675"/>
              <ac:spMk id="17" creationId="{515DDF2D-6B37-9EF8-A2BC-28A12049C6E1}"/>
            </ac:spMkLst>
          </pc:spChg>
          <pc:graphicFrameChg chg="add">
            <ac:chgData name="Aurelien Domont" userId="6da7715ce44349b3" providerId="LiveId" clId="{3AB14DF8-B366-45AD-84D4-7A0DF92D521A}" dt="2022-10-05T04:29:53.973" v="2"/>
            <ac:graphicFrameMkLst>
              <pc:docMk/>
              <pc:sldMasterMk cId="3188346754" sldId="2147483670"/>
              <pc:sldLayoutMk cId="3384280460" sldId="2147483675"/>
              <ac:graphicFrameMk id="5" creationId="{53470CAB-9159-EF5E-CAB3-2E23A7EBBC93}"/>
            </ac:graphicFrameMkLst>
          </pc:graphicFrameChg>
          <pc:cxnChg chg="add">
            <ac:chgData name="Aurelien Domont" userId="6da7715ce44349b3" providerId="LiveId" clId="{3AB14DF8-B366-45AD-84D4-7A0DF92D521A}" dt="2022-10-05T04:29:53.973" v="2"/>
            <ac:cxnSpMkLst>
              <pc:docMk/>
              <pc:sldMasterMk cId="3188346754" sldId="2147483670"/>
              <pc:sldLayoutMk cId="3384280460" sldId="2147483675"/>
              <ac:cxnSpMk id="16" creationId="{F1AD3CCF-EF81-21A0-3584-8FB468D546D5}"/>
            </ac:cxnSpMkLst>
          </pc:cxnChg>
        </pc:sldLayoutChg>
      </pc:sldMasterChg>
    </pc:docChg>
  </pc:docChgLst>
  <pc:docChgLst>
    <pc:chgData name="Aurelien Domont" userId="6da7715ce44349b3" providerId="LiveId" clId="{536283B8-5424-4180-8B69-568ADA94ED9A}"/>
    <pc:docChg chg="addSld delSld modSld">
      <pc:chgData name="Aurelien Domont" userId="6da7715ce44349b3" providerId="LiveId" clId="{536283B8-5424-4180-8B69-568ADA94ED9A}" dt="2021-05-27T07:22:04.824" v="1"/>
      <pc:docMkLst>
        <pc:docMk/>
      </pc:docMkLst>
      <pc:sldChg chg="add del">
        <pc:chgData name="Aurelien Domont" userId="6da7715ce44349b3" providerId="LiveId" clId="{536283B8-5424-4180-8B69-568ADA94ED9A}" dt="2021-05-27T07:22:04.824" v="1"/>
        <pc:sldMkLst>
          <pc:docMk/>
          <pc:sldMk cId="1754585881" sldId="1598"/>
        </pc:sldMkLst>
      </pc:sldChg>
      <pc:sldChg chg="add del">
        <pc:chgData name="Aurelien Domont" userId="6da7715ce44349b3" providerId="LiveId" clId="{536283B8-5424-4180-8B69-568ADA94ED9A}" dt="2021-05-27T07:22:04.824" v="1"/>
        <pc:sldMkLst>
          <pc:docMk/>
          <pc:sldMk cId="748962572" sldId="1599"/>
        </pc:sldMkLst>
      </pc:sldChg>
      <pc:sldChg chg="add">
        <pc:chgData name="Aurelien Domont" userId="6da7715ce44349b3" providerId="LiveId" clId="{536283B8-5424-4180-8B69-568ADA94ED9A}" dt="2021-05-27T07:22:04.824" v="1"/>
        <pc:sldMkLst>
          <pc:docMk/>
          <pc:sldMk cId="2853806433" sldId="1600"/>
        </pc:sldMkLst>
      </pc:sldChg>
      <pc:sldChg chg="del">
        <pc:chgData name="Aurelien Domont" userId="6da7715ce44349b3" providerId="LiveId" clId="{536283B8-5424-4180-8B69-568ADA94ED9A}" dt="2021-05-27T07:22:02.733" v="0" actId="47"/>
        <pc:sldMkLst>
          <pc:docMk/>
          <pc:sldMk cId="705087090" sldId="2147"/>
        </pc:sldMkLst>
      </pc:sldChg>
    </pc:docChg>
  </pc:docChgLst>
  <pc:docChgLst>
    <pc:chgData name="Aurelien Domont" userId="6da7715ce44349b3" providerId="LiveId" clId="{E65BC69C-3138-43E6-BAE8-31FBB05A397C}"/>
    <pc:docChg chg="addSld delSld modSld">
      <pc:chgData name="Aurelien Domont" userId="6da7715ce44349b3" providerId="LiveId" clId="{E65BC69C-3138-43E6-BAE8-31FBB05A397C}" dt="2023-10-05T03:43:21.580" v="1" actId="47"/>
      <pc:docMkLst>
        <pc:docMk/>
      </pc:docMkLst>
      <pc:sldChg chg="add">
        <pc:chgData name="Aurelien Domont" userId="6da7715ce44349b3" providerId="LiveId" clId="{E65BC69C-3138-43E6-BAE8-31FBB05A397C}" dt="2023-10-05T03:43:19.916" v="0"/>
        <pc:sldMkLst>
          <pc:docMk/>
          <pc:sldMk cId="1754585881" sldId="1598"/>
        </pc:sldMkLst>
      </pc:sldChg>
      <pc:sldChg chg="del">
        <pc:chgData name="Aurelien Domont" userId="6da7715ce44349b3" providerId="LiveId" clId="{E65BC69C-3138-43E6-BAE8-31FBB05A397C}" dt="2023-10-05T03:43:21.580" v="1" actId="47"/>
        <pc:sldMkLst>
          <pc:docMk/>
          <pc:sldMk cId="2853806433" sldId="1600"/>
        </pc:sldMkLst>
      </pc:sldChg>
      <pc:sldChg chg="add">
        <pc:chgData name="Aurelien Domont" userId="6da7715ce44349b3" providerId="LiveId" clId="{E65BC69C-3138-43E6-BAE8-31FBB05A397C}" dt="2023-10-05T03:43:19.916" v="0"/>
        <pc:sldMkLst>
          <pc:docMk/>
          <pc:sldMk cId="145064013" sldId="2213"/>
        </pc:sldMkLst>
      </pc:sldChg>
      <pc:sldChg chg="add">
        <pc:chgData name="Aurelien Domont" userId="6da7715ce44349b3" providerId="LiveId" clId="{E65BC69C-3138-43E6-BAE8-31FBB05A397C}" dt="2023-10-05T03:43:19.916" v="0"/>
        <pc:sldMkLst>
          <pc:docMk/>
          <pc:sldMk cId="2511350442" sldId="2251"/>
        </pc:sldMkLst>
      </pc:sldChg>
    </pc:docChg>
  </pc:docChgLst>
  <pc:docChgLst>
    <pc:chgData name="Aurelien Domont" userId="6da7715ce44349b3" providerId="LiveId" clId="{B20FBC07-751B-4727-8DF1-DFE4AE7750F4}"/>
    <pc:docChg chg="undo custSel addSld delSld modSld">
      <pc:chgData name="Aurelien Domont" userId="6da7715ce44349b3" providerId="LiveId" clId="{B20FBC07-751B-4727-8DF1-DFE4AE7750F4}" dt="2020-11-18T06:03:50.116" v="56" actId="47"/>
      <pc:docMkLst>
        <pc:docMk/>
      </pc:docMkLst>
      <pc:sldChg chg="modSp mod">
        <pc:chgData name="Aurelien Domont" userId="6da7715ce44349b3" providerId="LiveId" clId="{B20FBC07-751B-4727-8DF1-DFE4AE7750F4}" dt="2020-11-04T06:37:15.796" v="11" actId="20577"/>
        <pc:sldMkLst>
          <pc:docMk/>
          <pc:sldMk cId="3131901387" sldId="256"/>
        </pc:sldMkLst>
        <pc:spChg chg="mod">
          <ac:chgData name="Aurelien Domont" userId="6da7715ce44349b3" providerId="LiveId" clId="{B20FBC07-751B-4727-8DF1-DFE4AE7750F4}" dt="2020-11-04T06:37:15.796" v="11" actId="20577"/>
          <ac:spMkLst>
            <pc:docMk/>
            <pc:sldMk cId="3131901387" sldId="256"/>
            <ac:spMk id="2" creationId="{5261080C-C60C-4746-B6B1-A9A4FFA86785}"/>
          </ac:spMkLst>
        </pc:spChg>
      </pc:sldChg>
      <pc:sldChg chg="modSp mod">
        <pc:chgData name="Aurelien Domont" userId="6da7715ce44349b3" providerId="LiveId" clId="{B20FBC07-751B-4727-8DF1-DFE4AE7750F4}" dt="2020-11-18T06:00:54.035" v="15" actId="20577"/>
        <pc:sldMkLst>
          <pc:docMk/>
          <pc:sldMk cId="495896922" sldId="1566"/>
        </pc:sldMkLst>
        <pc:spChg chg="mod">
          <ac:chgData name="Aurelien Domont" userId="6da7715ce44349b3" providerId="LiveId" clId="{B20FBC07-751B-4727-8DF1-DFE4AE7750F4}" dt="2020-11-18T06:00:54.035" v="15" actId="20577"/>
          <ac:spMkLst>
            <pc:docMk/>
            <pc:sldMk cId="495896922" sldId="1566"/>
            <ac:spMk id="37" creationId="{BBEE9BDF-071E-40F7-9270-EF1CF522DE39}"/>
          </ac:spMkLst>
        </pc:spChg>
      </pc:sldChg>
      <pc:sldChg chg="del">
        <pc:chgData name="Aurelien Domont" userId="6da7715ce44349b3" providerId="LiveId" clId="{B20FBC07-751B-4727-8DF1-DFE4AE7750F4}" dt="2020-11-18T06:03:50.116" v="56" actId="47"/>
        <pc:sldMkLst>
          <pc:docMk/>
          <pc:sldMk cId="3692499981" sldId="1597"/>
        </pc:sldMkLst>
      </pc:sldChg>
      <pc:sldChg chg="modSp mod">
        <pc:chgData name="Aurelien Domont" userId="6da7715ce44349b3" providerId="LiveId" clId="{B20FBC07-751B-4727-8DF1-DFE4AE7750F4}" dt="2020-11-18T06:00:57.251" v="16" actId="20577"/>
        <pc:sldMkLst>
          <pc:docMk/>
          <pc:sldMk cId="128101654" sldId="1917"/>
        </pc:sldMkLst>
        <pc:spChg chg="mod">
          <ac:chgData name="Aurelien Domont" userId="6da7715ce44349b3" providerId="LiveId" clId="{B20FBC07-751B-4727-8DF1-DFE4AE7750F4}" dt="2020-11-18T06:00:57.251" v="16" actId="20577"/>
          <ac:spMkLst>
            <pc:docMk/>
            <pc:sldMk cId="128101654" sldId="1917"/>
            <ac:spMk id="37" creationId="{BBEE9BDF-071E-40F7-9270-EF1CF522DE39}"/>
          </ac:spMkLst>
        </pc:spChg>
      </pc:sldChg>
      <pc:sldChg chg="modSp mod">
        <pc:chgData name="Aurelien Domont" userId="6da7715ce44349b3" providerId="LiveId" clId="{B20FBC07-751B-4727-8DF1-DFE4AE7750F4}" dt="2020-11-18T06:01:04.091" v="17" actId="20577"/>
        <pc:sldMkLst>
          <pc:docMk/>
          <pc:sldMk cId="3097907417" sldId="1919"/>
        </pc:sldMkLst>
        <pc:spChg chg="mod">
          <ac:chgData name="Aurelien Domont" userId="6da7715ce44349b3" providerId="LiveId" clId="{B20FBC07-751B-4727-8DF1-DFE4AE7750F4}" dt="2020-11-18T06:01:04.091" v="17" actId="20577"/>
          <ac:spMkLst>
            <pc:docMk/>
            <pc:sldMk cId="3097907417" sldId="1919"/>
            <ac:spMk id="37" creationId="{BBEE9BDF-071E-40F7-9270-EF1CF522DE39}"/>
          </ac:spMkLst>
        </pc:spChg>
      </pc:sldChg>
      <pc:sldChg chg="modSp mod">
        <pc:chgData name="Aurelien Domont" userId="6da7715ce44349b3" providerId="LiveId" clId="{B20FBC07-751B-4727-8DF1-DFE4AE7750F4}" dt="2020-11-18T06:01:07.377" v="18" actId="20577"/>
        <pc:sldMkLst>
          <pc:docMk/>
          <pc:sldMk cId="3984149574" sldId="1922"/>
        </pc:sldMkLst>
        <pc:spChg chg="mod">
          <ac:chgData name="Aurelien Domont" userId="6da7715ce44349b3" providerId="LiveId" clId="{B20FBC07-751B-4727-8DF1-DFE4AE7750F4}" dt="2020-11-18T06:01:07.377" v="18" actId="20577"/>
          <ac:spMkLst>
            <pc:docMk/>
            <pc:sldMk cId="3984149574" sldId="1922"/>
            <ac:spMk id="37" creationId="{BBEE9BDF-071E-40F7-9270-EF1CF522DE39}"/>
          </ac:spMkLst>
        </pc:spChg>
      </pc:sldChg>
      <pc:sldChg chg="modSp mod">
        <pc:chgData name="Aurelien Domont" userId="6da7715ce44349b3" providerId="LiveId" clId="{B20FBC07-751B-4727-8DF1-DFE4AE7750F4}" dt="2020-11-18T06:01:13.631" v="19" actId="20577"/>
        <pc:sldMkLst>
          <pc:docMk/>
          <pc:sldMk cId="1511118348" sldId="1923"/>
        </pc:sldMkLst>
        <pc:spChg chg="mod">
          <ac:chgData name="Aurelien Domont" userId="6da7715ce44349b3" providerId="LiveId" clId="{B20FBC07-751B-4727-8DF1-DFE4AE7750F4}" dt="2020-11-18T06:01:13.631" v="19" actId="20577"/>
          <ac:spMkLst>
            <pc:docMk/>
            <pc:sldMk cId="1511118348" sldId="1923"/>
            <ac:spMk id="37" creationId="{BBEE9BDF-071E-40F7-9270-EF1CF522DE39}"/>
          </ac:spMkLst>
        </pc:spChg>
      </pc:sldChg>
      <pc:sldChg chg="modSp mod">
        <pc:chgData name="Aurelien Domont" userId="6da7715ce44349b3" providerId="LiveId" clId="{B20FBC07-751B-4727-8DF1-DFE4AE7750F4}" dt="2020-11-18T06:01:16.715" v="20" actId="20577"/>
        <pc:sldMkLst>
          <pc:docMk/>
          <pc:sldMk cId="575345008" sldId="1926"/>
        </pc:sldMkLst>
        <pc:spChg chg="mod">
          <ac:chgData name="Aurelien Domont" userId="6da7715ce44349b3" providerId="LiveId" clId="{B20FBC07-751B-4727-8DF1-DFE4AE7750F4}" dt="2020-11-18T06:01:16.715" v="20" actId="20577"/>
          <ac:spMkLst>
            <pc:docMk/>
            <pc:sldMk cId="575345008" sldId="1926"/>
            <ac:spMk id="37" creationId="{BBEE9BDF-071E-40F7-9270-EF1CF522DE39}"/>
          </ac:spMkLst>
        </pc:spChg>
      </pc:sldChg>
      <pc:sldChg chg="modSp mod">
        <pc:chgData name="Aurelien Domont" userId="6da7715ce44349b3" providerId="LiveId" clId="{B20FBC07-751B-4727-8DF1-DFE4AE7750F4}" dt="2020-11-18T06:01:20.809" v="21" actId="20577"/>
        <pc:sldMkLst>
          <pc:docMk/>
          <pc:sldMk cId="3066766312" sldId="1927"/>
        </pc:sldMkLst>
        <pc:spChg chg="mod">
          <ac:chgData name="Aurelien Domont" userId="6da7715ce44349b3" providerId="LiveId" clId="{B20FBC07-751B-4727-8DF1-DFE4AE7750F4}" dt="2020-11-18T06:01:20.809" v="21" actId="20577"/>
          <ac:spMkLst>
            <pc:docMk/>
            <pc:sldMk cId="3066766312" sldId="1927"/>
            <ac:spMk id="37" creationId="{BBEE9BDF-071E-40F7-9270-EF1CF522DE39}"/>
          </ac:spMkLst>
        </pc:spChg>
      </pc:sldChg>
      <pc:sldChg chg="modSp mod">
        <pc:chgData name="Aurelien Domont" userId="6da7715ce44349b3" providerId="LiveId" clId="{B20FBC07-751B-4727-8DF1-DFE4AE7750F4}" dt="2020-11-18T06:01:24.882" v="22" actId="20577"/>
        <pc:sldMkLst>
          <pc:docMk/>
          <pc:sldMk cId="1476473816" sldId="1931"/>
        </pc:sldMkLst>
        <pc:spChg chg="mod">
          <ac:chgData name="Aurelien Domont" userId="6da7715ce44349b3" providerId="LiveId" clId="{B20FBC07-751B-4727-8DF1-DFE4AE7750F4}" dt="2020-11-18T06:01:24.882" v="22" actId="20577"/>
          <ac:spMkLst>
            <pc:docMk/>
            <pc:sldMk cId="1476473816" sldId="1931"/>
            <ac:spMk id="37" creationId="{BBEE9BDF-071E-40F7-9270-EF1CF522DE39}"/>
          </ac:spMkLst>
        </pc:spChg>
      </pc:sldChg>
      <pc:sldChg chg="modSp mod">
        <pc:chgData name="Aurelien Domont" userId="6da7715ce44349b3" providerId="LiveId" clId="{B20FBC07-751B-4727-8DF1-DFE4AE7750F4}" dt="2020-11-18T06:01:28.257" v="23" actId="20577"/>
        <pc:sldMkLst>
          <pc:docMk/>
          <pc:sldMk cId="1904317979" sldId="1934"/>
        </pc:sldMkLst>
        <pc:spChg chg="mod">
          <ac:chgData name="Aurelien Domont" userId="6da7715ce44349b3" providerId="LiveId" clId="{B20FBC07-751B-4727-8DF1-DFE4AE7750F4}" dt="2020-11-18T06:01:28.257" v="23" actId="20577"/>
          <ac:spMkLst>
            <pc:docMk/>
            <pc:sldMk cId="1904317979" sldId="1934"/>
            <ac:spMk id="37" creationId="{BBEE9BDF-071E-40F7-9270-EF1CF522DE39}"/>
          </ac:spMkLst>
        </pc:spChg>
      </pc:sldChg>
      <pc:sldChg chg="modSp del mod">
        <pc:chgData name="Aurelien Domont" userId="6da7715ce44349b3" providerId="LiveId" clId="{B20FBC07-751B-4727-8DF1-DFE4AE7750F4}" dt="2020-11-18T06:01:50.946" v="27" actId="47"/>
        <pc:sldMkLst>
          <pc:docMk/>
          <pc:sldMk cId="418298093" sldId="1937"/>
        </pc:sldMkLst>
        <pc:spChg chg="mod">
          <ac:chgData name="Aurelien Domont" userId="6da7715ce44349b3" providerId="LiveId" clId="{B20FBC07-751B-4727-8DF1-DFE4AE7750F4}" dt="2020-11-18T06:01:33.905" v="24" actId="20577"/>
          <ac:spMkLst>
            <pc:docMk/>
            <pc:sldMk cId="418298093" sldId="1937"/>
            <ac:spMk id="37" creationId="{BBEE9BDF-071E-40F7-9270-EF1CF522DE39}"/>
          </ac:spMkLst>
        </pc:spChg>
      </pc:sldChg>
      <pc:sldChg chg="del">
        <pc:chgData name="Aurelien Domont" userId="6da7715ce44349b3" providerId="LiveId" clId="{B20FBC07-751B-4727-8DF1-DFE4AE7750F4}" dt="2020-11-18T06:01:39.481" v="25" actId="47"/>
        <pc:sldMkLst>
          <pc:docMk/>
          <pc:sldMk cId="2873839451" sldId="1938"/>
        </pc:sldMkLst>
      </pc:sldChg>
      <pc:sldChg chg="del">
        <pc:chgData name="Aurelien Domont" userId="6da7715ce44349b3" providerId="LiveId" clId="{B20FBC07-751B-4727-8DF1-DFE4AE7750F4}" dt="2020-11-18T06:01:43.907" v="26" actId="47"/>
        <pc:sldMkLst>
          <pc:docMk/>
          <pc:sldMk cId="4056322640" sldId="1939"/>
        </pc:sldMkLst>
      </pc:sldChg>
      <pc:sldChg chg="add del">
        <pc:chgData name="Aurelien Domont" userId="6da7715ce44349b3" providerId="LiveId" clId="{B20FBC07-751B-4727-8DF1-DFE4AE7750F4}" dt="2020-11-18T06:02:08.131" v="30" actId="47"/>
        <pc:sldMkLst>
          <pc:docMk/>
          <pc:sldMk cId="2102558717" sldId="1940"/>
        </pc:sldMkLst>
      </pc:sldChg>
      <pc:sldChg chg="del">
        <pc:chgData name="Aurelien Domont" userId="6da7715ce44349b3" providerId="LiveId" clId="{B20FBC07-751B-4727-8DF1-DFE4AE7750F4}" dt="2020-11-18T06:02:08.131" v="30" actId="47"/>
        <pc:sldMkLst>
          <pc:docMk/>
          <pc:sldMk cId="3950705451" sldId="1941"/>
        </pc:sldMkLst>
      </pc:sldChg>
      <pc:sldChg chg="del">
        <pc:chgData name="Aurelien Domont" userId="6da7715ce44349b3" providerId="LiveId" clId="{B20FBC07-751B-4727-8DF1-DFE4AE7750F4}" dt="2020-11-18T06:02:08.131" v="30" actId="47"/>
        <pc:sldMkLst>
          <pc:docMk/>
          <pc:sldMk cId="853843260" sldId="1942"/>
        </pc:sldMkLst>
      </pc:sldChg>
      <pc:sldChg chg="modSp mod">
        <pc:chgData name="Aurelien Domont" userId="6da7715ce44349b3" providerId="LiveId" clId="{B20FBC07-751B-4727-8DF1-DFE4AE7750F4}" dt="2020-11-18T06:02:11.414" v="31" actId="20577"/>
        <pc:sldMkLst>
          <pc:docMk/>
          <pc:sldMk cId="832785403" sldId="1943"/>
        </pc:sldMkLst>
        <pc:spChg chg="mod">
          <ac:chgData name="Aurelien Domont" userId="6da7715ce44349b3" providerId="LiveId" clId="{B20FBC07-751B-4727-8DF1-DFE4AE7750F4}" dt="2020-11-18T06:02:11.414" v="31" actId="20577"/>
          <ac:spMkLst>
            <pc:docMk/>
            <pc:sldMk cId="832785403" sldId="1943"/>
            <ac:spMk id="37" creationId="{BBEE9BDF-071E-40F7-9270-EF1CF522DE39}"/>
          </ac:spMkLst>
        </pc:spChg>
      </pc:sldChg>
      <pc:sldChg chg="modSp mod">
        <pc:chgData name="Aurelien Domont" userId="6da7715ce44349b3" providerId="LiveId" clId="{B20FBC07-751B-4727-8DF1-DFE4AE7750F4}" dt="2020-11-18T06:02:18.547" v="32" actId="20577"/>
        <pc:sldMkLst>
          <pc:docMk/>
          <pc:sldMk cId="1756555481" sldId="1947"/>
        </pc:sldMkLst>
        <pc:spChg chg="mod">
          <ac:chgData name="Aurelien Domont" userId="6da7715ce44349b3" providerId="LiveId" clId="{B20FBC07-751B-4727-8DF1-DFE4AE7750F4}" dt="2020-11-18T06:02:18.547" v="32" actId="20577"/>
          <ac:spMkLst>
            <pc:docMk/>
            <pc:sldMk cId="1756555481" sldId="1947"/>
            <ac:spMk id="37" creationId="{BBEE9BDF-071E-40F7-9270-EF1CF522DE39}"/>
          </ac:spMkLst>
        </pc:spChg>
      </pc:sldChg>
      <pc:sldChg chg="modSp mod">
        <pc:chgData name="Aurelien Domont" userId="6da7715ce44349b3" providerId="LiveId" clId="{B20FBC07-751B-4727-8DF1-DFE4AE7750F4}" dt="2020-11-18T06:02:23.878" v="33" actId="20577"/>
        <pc:sldMkLst>
          <pc:docMk/>
          <pc:sldMk cId="861151606" sldId="1951"/>
        </pc:sldMkLst>
        <pc:spChg chg="mod">
          <ac:chgData name="Aurelien Domont" userId="6da7715ce44349b3" providerId="LiveId" clId="{B20FBC07-751B-4727-8DF1-DFE4AE7750F4}" dt="2020-11-18T06:02:23.878" v="33" actId="20577"/>
          <ac:spMkLst>
            <pc:docMk/>
            <pc:sldMk cId="861151606" sldId="1951"/>
            <ac:spMk id="37" creationId="{BBEE9BDF-071E-40F7-9270-EF1CF522DE39}"/>
          </ac:spMkLst>
        </pc:spChg>
      </pc:sldChg>
      <pc:sldChg chg="modSp mod">
        <pc:chgData name="Aurelien Domont" userId="6da7715ce44349b3" providerId="LiveId" clId="{B20FBC07-751B-4727-8DF1-DFE4AE7750F4}" dt="2020-11-18T06:02:26.871" v="34" actId="20577"/>
        <pc:sldMkLst>
          <pc:docMk/>
          <pc:sldMk cId="465122809" sldId="1954"/>
        </pc:sldMkLst>
        <pc:spChg chg="mod">
          <ac:chgData name="Aurelien Domont" userId="6da7715ce44349b3" providerId="LiveId" clId="{B20FBC07-751B-4727-8DF1-DFE4AE7750F4}" dt="2020-11-18T06:02:26.871" v="34" actId="20577"/>
          <ac:spMkLst>
            <pc:docMk/>
            <pc:sldMk cId="465122809" sldId="1954"/>
            <ac:spMk id="37" creationId="{BBEE9BDF-071E-40F7-9270-EF1CF522DE39}"/>
          </ac:spMkLst>
        </pc:spChg>
      </pc:sldChg>
      <pc:sldChg chg="modSp mod">
        <pc:chgData name="Aurelien Domont" userId="6da7715ce44349b3" providerId="LiveId" clId="{B20FBC07-751B-4727-8DF1-DFE4AE7750F4}" dt="2020-11-18T06:02:29.909" v="35" actId="20577"/>
        <pc:sldMkLst>
          <pc:docMk/>
          <pc:sldMk cId="3212518478" sldId="1957"/>
        </pc:sldMkLst>
        <pc:spChg chg="mod">
          <ac:chgData name="Aurelien Domont" userId="6da7715ce44349b3" providerId="LiveId" clId="{B20FBC07-751B-4727-8DF1-DFE4AE7750F4}" dt="2020-11-18T06:02:29.909" v="35" actId="20577"/>
          <ac:spMkLst>
            <pc:docMk/>
            <pc:sldMk cId="3212518478" sldId="1957"/>
            <ac:spMk id="37" creationId="{BBEE9BDF-071E-40F7-9270-EF1CF522DE39}"/>
          </ac:spMkLst>
        </pc:spChg>
      </pc:sldChg>
      <pc:sldChg chg="modSp mod">
        <pc:chgData name="Aurelien Domont" userId="6da7715ce44349b3" providerId="LiveId" clId="{B20FBC07-751B-4727-8DF1-DFE4AE7750F4}" dt="2020-11-04T05:54:40.395" v="1" actId="207"/>
        <pc:sldMkLst>
          <pc:docMk/>
          <pc:sldMk cId="46986138" sldId="1962"/>
        </pc:sldMkLst>
        <pc:spChg chg="mod">
          <ac:chgData name="Aurelien Domont" userId="6da7715ce44349b3" providerId="LiveId" clId="{B20FBC07-751B-4727-8DF1-DFE4AE7750F4}" dt="2020-11-04T05:54:36.766" v="0" actId="207"/>
          <ac:spMkLst>
            <pc:docMk/>
            <pc:sldMk cId="46986138" sldId="1962"/>
            <ac:spMk id="49" creationId="{DCB20323-D690-48B2-A2AE-AC81BD37712C}"/>
          </ac:spMkLst>
        </pc:spChg>
        <pc:spChg chg="mod">
          <ac:chgData name="Aurelien Domont" userId="6da7715ce44349b3" providerId="LiveId" clId="{B20FBC07-751B-4727-8DF1-DFE4AE7750F4}" dt="2020-11-04T05:54:36.766" v="0" actId="207"/>
          <ac:spMkLst>
            <pc:docMk/>
            <pc:sldMk cId="46986138" sldId="1962"/>
            <ac:spMk id="50" creationId="{44F71CC3-6C7E-4918-BD8B-50482A613928}"/>
          </ac:spMkLst>
        </pc:spChg>
        <pc:spChg chg="mod">
          <ac:chgData name="Aurelien Domont" userId="6da7715ce44349b3" providerId="LiveId" clId="{B20FBC07-751B-4727-8DF1-DFE4AE7750F4}" dt="2020-11-04T05:54:36.766" v="0" actId="207"/>
          <ac:spMkLst>
            <pc:docMk/>
            <pc:sldMk cId="46986138" sldId="1962"/>
            <ac:spMk id="51" creationId="{0F0AA582-1369-4E2A-9799-CC9299C22038}"/>
          </ac:spMkLst>
        </pc:spChg>
        <pc:spChg chg="mod">
          <ac:chgData name="Aurelien Domont" userId="6da7715ce44349b3" providerId="LiveId" clId="{B20FBC07-751B-4727-8DF1-DFE4AE7750F4}" dt="2020-11-04T05:54:40.395" v="1" actId="207"/>
          <ac:spMkLst>
            <pc:docMk/>
            <pc:sldMk cId="46986138" sldId="1962"/>
            <ac:spMk id="54" creationId="{4DA3153C-BB6A-4967-A3C0-D566B0FCE4F2}"/>
          </ac:spMkLst>
        </pc:spChg>
        <pc:spChg chg="mod">
          <ac:chgData name="Aurelien Domont" userId="6da7715ce44349b3" providerId="LiveId" clId="{B20FBC07-751B-4727-8DF1-DFE4AE7750F4}" dt="2020-11-04T05:54:40.395" v="1" actId="207"/>
          <ac:spMkLst>
            <pc:docMk/>
            <pc:sldMk cId="46986138" sldId="1962"/>
            <ac:spMk id="55" creationId="{26D46978-0426-4B24-88D5-2E434D717EC0}"/>
          </ac:spMkLst>
        </pc:spChg>
        <pc:spChg chg="mod">
          <ac:chgData name="Aurelien Domont" userId="6da7715ce44349b3" providerId="LiveId" clId="{B20FBC07-751B-4727-8DF1-DFE4AE7750F4}" dt="2020-11-04T05:54:40.395" v="1" actId="207"/>
          <ac:spMkLst>
            <pc:docMk/>
            <pc:sldMk cId="46986138" sldId="1962"/>
            <ac:spMk id="56" creationId="{70A2E7F5-43C5-4D80-9E39-499A8328A4F6}"/>
          </ac:spMkLst>
        </pc:spChg>
        <pc:spChg chg="mod">
          <ac:chgData name="Aurelien Domont" userId="6da7715ce44349b3" providerId="LiveId" clId="{B20FBC07-751B-4727-8DF1-DFE4AE7750F4}" dt="2020-11-04T05:54:36.766" v="0" actId="207"/>
          <ac:spMkLst>
            <pc:docMk/>
            <pc:sldMk cId="46986138" sldId="1962"/>
            <ac:spMk id="57" creationId="{1EFBA38E-4DF6-404E-8E40-2CBC135FDDAD}"/>
          </ac:spMkLst>
        </pc:spChg>
        <pc:spChg chg="mod">
          <ac:chgData name="Aurelien Domont" userId="6da7715ce44349b3" providerId="LiveId" clId="{B20FBC07-751B-4727-8DF1-DFE4AE7750F4}" dt="2020-11-04T05:54:36.766" v="0" actId="207"/>
          <ac:spMkLst>
            <pc:docMk/>
            <pc:sldMk cId="46986138" sldId="1962"/>
            <ac:spMk id="58" creationId="{A0852513-BBF5-4C33-A23B-620DFFEEDE96}"/>
          </ac:spMkLst>
        </pc:spChg>
      </pc:sldChg>
      <pc:sldChg chg="modSp mod">
        <pc:chgData name="Aurelien Domont" userId="6da7715ce44349b3" providerId="LiveId" clId="{B20FBC07-751B-4727-8DF1-DFE4AE7750F4}" dt="2020-11-18T06:02:33.712" v="36" actId="20577"/>
        <pc:sldMkLst>
          <pc:docMk/>
          <pc:sldMk cId="3230212261" sldId="1963"/>
        </pc:sldMkLst>
        <pc:spChg chg="mod">
          <ac:chgData name="Aurelien Domont" userId="6da7715ce44349b3" providerId="LiveId" clId="{B20FBC07-751B-4727-8DF1-DFE4AE7750F4}" dt="2020-11-18T06:02:33.712" v="36" actId="20577"/>
          <ac:spMkLst>
            <pc:docMk/>
            <pc:sldMk cId="3230212261" sldId="1963"/>
            <ac:spMk id="37" creationId="{BBEE9BDF-071E-40F7-9270-EF1CF522DE39}"/>
          </ac:spMkLst>
        </pc:spChg>
      </pc:sldChg>
      <pc:sldChg chg="modSp mod">
        <pc:chgData name="Aurelien Domont" userId="6da7715ce44349b3" providerId="LiveId" clId="{B20FBC07-751B-4727-8DF1-DFE4AE7750F4}" dt="2020-11-18T06:02:36.726" v="37" actId="20577"/>
        <pc:sldMkLst>
          <pc:docMk/>
          <pc:sldMk cId="1760472209" sldId="1966"/>
        </pc:sldMkLst>
        <pc:spChg chg="mod">
          <ac:chgData name="Aurelien Domont" userId="6da7715ce44349b3" providerId="LiveId" clId="{B20FBC07-751B-4727-8DF1-DFE4AE7750F4}" dt="2020-11-18T06:02:36.726" v="37" actId="20577"/>
          <ac:spMkLst>
            <pc:docMk/>
            <pc:sldMk cId="1760472209" sldId="1966"/>
            <ac:spMk id="37" creationId="{BBEE9BDF-071E-40F7-9270-EF1CF522DE39}"/>
          </ac:spMkLst>
        </pc:spChg>
      </pc:sldChg>
      <pc:sldChg chg="modSp mod">
        <pc:chgData name="Aurelien Domont" userId="6da7715ce44349b3" providerId="LiveId" clId="{B20FBC07-751B-4727-8DF1-DFE4AE7750F4}" dt="2020-11-18T06:02:40.755" v="38" actId="20577"/>
        <pc:sldMkLst>
          <pc:docMk/>
          <pc:sldMk cId="776701674" sldId="1968"/>
        </pc:sldMkLst>
        <pc:spChg chg="mod">
          <ac:chgData name="Aurelien Domont" userId="6da7715ce44349b3" providerId="LiveId" clId="{B20FBC07-751B-4727-8DF1-DFE4AE7750F4}" dt="2020-11-18T06:02:40.755" v="38" actId="20577"/>
          <ac:spMkLst>
            <pc:docMk/>
            <pc:sldMk cId="776701674" sldId="1968"/>
            <ac:spMk id="37" creationId="{BBEE9BDF-071E-40F7-9270-EF1CF522DE39}"/>
          </ac:spMkLst>
        </pc:spChg>
      </pc:sldChg>
      <pc:sldChg chg="modSp mod">
        <pc:chgData name="Aurelien Domont" userId="6da7715ce44349b3" providerId="LiveId" clId="{B20FBC07-751B-4727-8DF1-DFE4AE7750F4}" dt="2020-11-18T06:02:44.264" v="39" actId="20577"/>
        <pc:sldMkLst>
          <pc:docMk/>
          <pc:sldMk cId="3330626721" sldId="1971"/>
        </pc:sldMkLst>
        <pc:spChg chg="mod">
          <ac:chgData name="Aurelien Domont" userId="6da7715ce44349b3" providerId="LiveId" clId="{B20FBC07-751B-4727-8DF1-DFE4AE7750F4}" dt="2020-11-18T06:02:44.264" v="39" actId="20577"/>
          <ac:spMkLst>
            <pc:docMk/>
            <pc:sldMk cId="3330626721" sldId="1971"/>
            <ac:spMk id="37" creationId="{BBEE9BDF-071E-40F7-9270-EF1CF522DE39}"/>
          </ac:spMkLst>
        </pc:spChg>
      </pc:sldChg>
      <pc:sldChg chg="modSp mod">
        <pc:chgData name="Aurelien Domont" userId="6da7715ce44349b3" providerId="LiveId" clId="{B20FBC07-751B-4727-8DF1-DFE4AE7750F4}" dt="2020-11-18T06:02:47.662" v="40" actId="20577"/>
        <pc:sldMkLst>
          <pc:docMk/>
          <pc:sldMk cId="417532223" sldId="1973"/>
        </pc:sldMkLst>
        <pc:spChg chg="mod">
          <ac:chgData name="Aurelien Domont" userId="6da7715ce44349b3" providerId="LiveId" clId="{B20FBC07-751B-4727-8DF1-DFE4AE7750F4}" dt="2020-11-18T06:02:47.662" v="40" actId="20577"/>
          <ac:spMkLst>
            <pc:docMk/>
            <pc:sldMk cId="417532223" sldId="1973"/>
            <ac:spMk id="37" creationId="{BBEE9BDF-071E-40F7-9270-EF1CF522DE39}"/>
          </ac:spMkLst>
        </pc:spChg>
      </pc:sldChg>
      <pc:sldChg chg="modSp mod">
        <pc:chgData name="Aurelien Domont" userId="6da7715ce44349b3" providerId="LiveId" clId="{B20FBC07-751B-4727-8DF1-DFE4AE7750F4}" dt="2020-11-18T06:02:51.756" v="41" actId="20577"/>
        <pc:sldMkLst>
          <pc:docMk/>
          <pc:sldMk cId="3936496249" sldId="1979"/>
        </pc:sldMkLst>
        <pc:spChg chg="mod">
          <ac:chgData name="Aurelien Domont" userId="6da7715ce44349b3" providerId="LiveId" clId="{B20FBC07-751B-4727-8DF1-DFE4AE7750F4}" dt="2020-11-18T06:02:51.756" v="41" actId="20577"/>
          <ac:spMkLst>
            <pc:docMk/>
            <pc:sldMk cId="3936496249" sldId="1979"/>
            <ac:spMk id="37" creationId="{BBEE9BDF-071E-40F7-9270-EF1CF522DE39}"/>
          </ac:spMkLst>
        </pc:spChg>
      </pc:sldChg>
      <pc:sldChg chg="modSp mod">
        <pc:chgData name="Aurelien Domont" userId="6da7715ce44349b3" providerId="LiveId" clId="{B20FBC07-751B-4727-8DF1-DFE4AE7750F4}" dt="2020-11-18T06:02:55.154" v="42" actId="20577"/>
        <pc:sldMkLst>
          <pc:docMk/>
          <pc:sldMk cId="1036919842" sldId="1981"/>
        </pc:sldMkLst>
        <pc:spChg chg="mod">
          <ac:chgData name="Aurelien Domont" userId="6da7715ce44349b3" providerId="LiveId" clId="{B20FBC07-751B-4727-8DF1-DFE4AE7750F4}" dt="2020-11-18T06:02:55.154" v="42" actId="20577"/>
          <ac:spMkLst>
            <pc:docMk/>
            <pc:sldMk cId="1036919842" sldId="1981"/>
            <ac:spMk id="37" creationId="{BBEE9BDF-071E-40F7-9270-EF1CF522DE39}"/>
          </ac:spMkLst>
        </pc:spChg>
      </pc:sldChg>
      <pc:sldChg chg="modSp mod">
        <pc:chgData name="Aurelien Domont" userId="6da7715ce44349b3" providerId="LiveId" clId="{B20FBC07-751B-4727-8DF1-DFE4AE7750F4}" dt="2020-11-18T06:02:59.137" v="43" actId="20577"/>
        <pc:sldMkLst>
          <pc:docMk/>
          <pc:sldMk cId="2055076735" sldId="1986"/>
        </pc:sldMkLst>
        <pc:spChg chg="mod">
          <ac:chgData name="Aurelien Domont" userId="6da7715ce44349b3" providerId="LiveId" clId="{B20FBC07-751B-4727-8DF1-DFE4AE7750F4}" dt="2020-11-18T06:02:59.137" v="43" actId="20577"/>
          <ac:spMkLst>
            <pc:docMk/>
            <pc:sldMk cId="2055076735" sldId="1986"/>
            <ac:spMk id="37" creationId="{BBEE9BDF-071E-40F7-9270-EF1CF522DE39}"/>
          </ac:spMkLst>
        </pc:spChg>
      </pc:sldChg>
      <pc:sldChg chg="modSp mod">
        <pc:chgData name="Aurelien Domont" userId="6da7715ce44349b3" providerId="LiveId" clId="{B20FBC07-751B-4727-8DF1-DFE4AE7750F4}" dt="2020-11-18T06:03:02.804" v="44" actId="20577"/>
        <pc:sldMkLst>
          <pc:docMk/>
          <pc:sldMk cId="991805020" sldId="1989"/>
        </pc:sldMkLst>
        <pc:spChg chg="mod">
          <ac:chgData name="Aurelien Domont" userId="6da7715ce44349b3" providerId="LiveId" clId="{B20FBC07-751B-4727-8DF1-DFE4AE7750F4}" dt="2020-11-18T06:03:02.804" v="44" actId="20577"/>
          <ac:spMkLst>
            <pc:docMk/>
            <pc:sldMk cId="991805020" sldId="1989"/>
            <ac:spMk id="37" creationId="{BBEE9BDF-071E-40F7-9270-EF1CF522DE39}"/>
          </ac:spMkLst>
        </pc:spChg>
      </pc:sldChg>
      <pc:sldChg chg="modSp mod">
        <pc:chgData name="Aurelien Domont" userId="6da7715ce44349b3" providerId="LiveId" clId="{B20FBC07-751B-4727-8DF1-DFE4AE7750F4}" dt="2020-11-18T06:03:05.956" v="45" actId="20577"/>
        <pc:sldMkLst>
          <pc:docMk/>
          <pc:sldMk cId="914016889" sldId="1992"/>
        </pc:sldMkLst>
        <pc:spChg chg="mod">
          <ac:chgData name="Aurelien Domont" userId="6da7715ce44349b3" providerId="LiveId" clId="{B20FBC07-751B-4727-8DF1-DFE4AE7750F4}" dt="2020-11-18T06:03:05.956" v="45" actId="20577"/>
          <ac:spMkLst>
            <pc:docMk/>
            <pc:sldMk cId="914016889" sldId="1992"/>
            <ac:spMk id="37" creationId="{BBEE9BDF-071E-40F7-9270-EF1CF522DE39}"/>
          </ac:spMkLst>
        </pc:spChg>
      </pc:sldChg>
      <pc:sldChg chg="modSp mod">
        <pc:chgData name="Aurelien Domont" userId="6da7715ce44349b3" providerId="LiveId" clId="{B20FBC07-751B-4727-8DF1-DFE4AE7750F4}" dt="2020-11-18T06:03:09.690" v="46" actId="20577"/>
        <pc:sldMkLst>
          <pc:docMk/>
          <pc:sldMk cId="953211725" sldId="1995"/>
        </pc:sldMkLst>
        <pc:spChg chg="mod">
          <ac:chgData name="Aurelien Domont" userId="6da7715ce44349b3" providerId="LiveId" clId="{B20FBC07-751B-4727-8DF1-DFE4AE7750F4}" dt="2020-11-18T06:03:09.690" v="46" actId="20577"/>
          <ac:spMkLst>
            <pc:docMk/>
            <pc:sldMk cId="953211725" sldId="1995"/>
            <ac:spMk id="37" creationId="{BBEE9BDF-071E-40F7-9270-EF1CF522DE39}"/>
          </ac:spMkLst>
        </pc:spChg>
      </pc:sldChg>
      <pc:sldChg chg="modSp mod">
        <pc:chgData name="Aurelien Domont" userId="6da7715ce44349b3" providerId="LiveId" clId="{B20FBC07-751B-4727-8DF1-DFE4AE7750F4}" dt="2020-11-18T06:03:13.043" v="47" actId="20577"/>
        <pc:sldMkLst>
          <pc:docMk/>
          <pc:sldMk cId="3823051356" sldId="1999"/>
        </pc:sldMkLst>
        <pc:spChg chg="mod">
          <ac:chgData name="Aurelien Domont" userId="6da7715ce44349b3" providerId="LiveId" clId="{B20FBC07-751B-4727-8DF1-DFE4AE7750F4}" dt="2020-11-18T06:03:13.043" v="47" actId="20577"/>
          <ac:spMkLst>
            <pc:docMk/>
            <pc:sldMk cId="3823051356" sldId="1999"/>
            <ac:spMk id="37" creationId="{BBEE9BDF-071E-40F7-9270-EF1CF522DE39}"/>
          </ac:spMkLst>
        </pc:spChg>
      </pc:sldChg>
      <pc:sldChg chg="delSp mod">
        <pc:chgData name="Aurelien Domont" userId="6da7715ce44349b3" providerId="LiveId" clId="{B20FBC07-751B-4727-8DF1-DFE4AE7750F4}" dt="2020-11-04T06:40:05.781" v="12" actId="478"/>
        <pc:sldMkLst>
          <pc:docMk/>
          <pc:sldMk cId="1480423294" sldId="2001"/>
        </pc:sldMkLst>
        <pc:spChg chg="del">
          <ac:chgData name="Aurelien Domont" userId="6da7715ce44349b3" providerId="LiveId" clId="{B20FBC07-751B-4727-8DF1-DFE4AE7750F4}" dt="2020-11-04T06:40:05.781" v="12" actId="478"/>
          <ac:spMkLst>
            <pc:docMk/>
            <pc:sldMk cId="1480423294" sldId="2001"/>
            <ac:spMk id="15" creationId="{DF073435-4F73-4853-A06A-CEC7CEB9E0FE}"/>
          </ac:spMkLst>
        </pc:spChg>
      </pc:sldChg>
      <pc:sldChg chg="modSp mod">
        <pc:chgData name="Aurelien Domont" userId="6da7715ce44349b3" providerId="LiveId" clId="{B20FBC07-751B-4727-8DF1-DFE4AE7750F4}" dt="2020-11-18T06:03:17.227" v="48" actId="20577"/>
        <pc:sldMkLst>
          <pc:docMk/>
          <pc:sldMk cId="3023691004" sldId="2003"/>
        </pc:sldMkLst>
        <pc:spChg chg="mod">
          <ac:chgData name="Aurelien Domont" userId="6da7715ce44349b3" providerId="LiveId" clId="{B20FBC07-751B-4727-8DF1-DFE4AE7750F4}" dt="2020-11-18T06:03:17.227" v="48" actId="20577"/>
          <ac:spMkLst>
            <pc:docMk/>
            <pc:sldMk cId="3023691004" sldId="2003"/>
            <ac:spMk id="37" creationId="{BBEE9BDF-071E-40F7-9270-EF1CF522DE39}"/>
          </ac:spMkLst>
        </pc:spChg>
      </pc:sldChg>
      <pc:sldChg chg="modSp mod">
        <pc:chgData name="Aurelien Domont" userId="6da7715ce44349b3" providerId="LiveId" clId="{B20FBC07-751B-4727-8DF1-DFE4AE7750F4}" dt="2020-11-18T06:03:19.910" v="49" actId="20577"/>
        <pc:sldMkLst>
          <pc:docMk/>
          <pc:sldMk cId="1724454977" sldId="2006"/>
        </pc:sldMkLst>
        <pc:spChg chg="mod">
          <ac:chgData name="Aurelien Domont" userId="6da7715ce44349b3" providerId="LiveId" clId="{B20FBC07-751B-4727-8DF1-DFE4AE7750F4}" dt="2020-11-18T06:03:19.910" v="49" actId="20577"/>
          <ac:spMkLst>
            <pc:docMk/>
            <pc:sldMk cId="1724454977" sldId="2006"/>
            <ac:spMk id="37" creationId="{BBEE9BDF-071E-40F7-9270-EF1CF522DE39}"/>
          </ac:spMkLst>
        </pc:spChg>
      </pc:sldChg>
      <pc:sldChg chg="modSp mod">
        <pc:chgData name="Aurelien Domont" userId="6da7715ce44349b3" providerId="LiveId" clId="{B20FBC07-751B-4727-8DF1-DFE4AE7750F4}" dt="2020-11-18T06:03:22.785" v="50" actId="20577"/>
        <pc:sldMkLst>
          <pc:docMk/>
          <pc:sldMk cId="1332006057" sldId="2009"/>
        </pc:sldMkLst>
        <pc:spChg chg="mod">
          <ac:chgData name="Aurelien Domont" userId="6da7715ce44349b3" providerId="LiveId" clId="{B20FBC07-751B-4727-8DF1-DFE4AE7750F4}" dt="2020-11-18T06:03:22.785" v="50" actId="20577"/>
          <ac:spMkLst>
            <pc:docMk/>
            <pc:sldMk cId="1332006057" sldId="2009"/>
            <ac:spMk id="37" creationId="{BBEE9BDF-071E-40F7-9270-EF1CF522DE39}"/>
          </ac:spMkLst>
        </pc:spChg>
      </pc:sldChg>
      <pc:sldChg chg="modSp mod">
        <pc:chgData name="Aurelien Domont" userId="6da7715ce44349b3" providerId="LiveId" clId="{B20FBC07-751B-4727-8DF1-DFE4AE7750F4}" dt="2020-11-18T06:03:26.565" v="51" actId="20577"/>
        <pc:sldMkLst>
          <pc:docMk/>
          <pc:sldMk cId="3259832518" sldId="2012"/>
        </pc:sldMkLst>
        <pc:spChg chg="mod">
          <ac:chgData name="Aurelien Domont" userId="6da7715ce44349b3" providerId="LiveId" clId="{B20FBC07-751B-4727-8DF1-DFE4AE7750F4}" dt="2020-11-18T06:03:26.565" v="51" actId="20577"/>
          <ac:spMkLst>
            <pc:docMk/>
            <pc:sldMk cId="3259832518" sldId="2012"/>
            <ac:spMk id="37" creationId="{BBEE9BDF-071E-40F7-9270-EF1CF522DE39}"/>
          </ac:spMkLst>
        </pc:spChg>
      </pc:sldChg>
      <pc:sldChg chg="modSp mod">
        <pc:chgData name="Aurelien Domont" userId="6da7715ce44349b3" providerId="LiveId" clId="{B20FBC07-751B-4727-8DF1-DFE4AE7750F4}" dt="2020-11-18T06:03:32.844" v="52" actId="20577"/>
        <pc:sldMkLst>
          <pc:docMk/>
          <pc:sldMk cId="2682380162" sldId="2014"/>
        </pc:sldMkLst>
        <pc:spChg chg="mod">
          <ac:chgData name="Aurelien Domont" userId="6da7715ce44349b3" providerId="LiveId" clId="{B20FBC07-751B-4727-8DF1-DFE4AE7750F4}" dt="2020-11-18T06:03:32.844" v="52" actId="20577"/>
          <ac:spMkLst>
            <pc:docMk/>
            <pc:sldMk cId="2682380162" sldId="2014"/>
            <ac:spMk id="37" creationId="{BBEE9BDF-071E-40F7-9270-EF1CF522DE39}"/>
          </ac:spMkLst>
        </pc:spChg>
      </pc:sldChg>
      <pc:sldChg chg="modSp mod">
        <pc:chgData name="Aurelien Domont" userId="6da7715ce44349b3" providerId="LiveId" clId="{B20FBC07-751B-4727-8DF1-DFE4AE7750F4}" dt="2020-11-18T06:03:36.893" v="53" actId="20577"/>
        <pc:sldMkLst>
          <pc:docMk/>
          <pc:sldMk cId="2113500125" sldId="2017"/>
        </pc:sldMkLst>
        <pc:spChg chg="mod">
          <ac:chgData name="Aurelien Domont" userId="6da7715ce44349b3" providerId="LiveId" clId="{B20FBC07-751B-4727-8DF1-DFE4AE7750F4}" dt="2020-11-18T06:03:36.893" v="53" actId="20577"/>
          <ac:spMkLst>
            <pc:docMk/>
            <pc:sldMk cId="2113500125" sldId="2017"/>
            <ac:spMk id="37" creationId="{BBEE9BDF-071E-40F7-9270-EF1CF522DE39}"/>
          </ac:spMkLst>
        </pc:spChg>
      </pc:sldChg>
      <pc:sldChg chg="modSp mod">
        <pc:chgData name="Aurelien Domont" userId="6da7715ce44349b3" providerId="LiveId" clId="{B20FBC07-751B-4727-8DF1-DFE4AE7750F4}" dt="2020-11-18T06:03:40.381" v="54" actId="20577"/>
        <pc:sldMkLst>
          <pc:docMk/>
          <pc:sldMk cId="3561897072" sldId="2020"/>
        </pc:sldMkLst>
        <pc:spChg chg="mod">
          <ac:chgData name="Aurelien Domont" userId="6da7715ce44349b3" providerId="LiveId" clId="{B20FBC07-751B-4727-8DF1-DFE4AE7750F4}" dt="2020-11-18T06:03:40.381" v="54" actId="20577"/>
          <ac:spMkLst>
            <pc:docMk/>
            <pc:sldMk cId="3561897072" sldId="2020"/>
            <ac:spMk id="37" creationId="{BBEE9BDF-071E-40F7-9270-EF1CF522DE39}"/>
          </ac:spMkLst>
        </pc:spChg>
      </pc:sldChg>
      <pc:sldChg chg="modSp mod">
        <pc:chgData name="Aurelien Domont" userId="6da7715ce44349b3" providerId="LiveId" clId="{B20FBC07-751B-4727-8DF1-DFE4AE7750F4}" dt="2020-11-18T06:03:44.724" v="55" actId="20577"/>
        <pc:sldMkLst>
          <pc:docMk/>
          <pc:sldMk cId="1278311518" sldId="2023"/>
        </pc:sldMkLst>
        <pc:spChg chg="mod">
          <ac:chgData name="Aurelien Domont" userId="6da7715ce44349b3" providerId="LiveId" clId="{B20FBC07-751B-4727-8DF1-DFE4AE7750F4}" dt="2020-11-18T06:03:44.724" v="55" actId="20577"/>
          <ac:spMkLst>
            <pc:docMk/>
            <pc:sldMk cId="1278311518" sldId="2023"/>
            <ac:spMk id="37" creationId="{BBEE9BDF-071E-40F7-9270-EF1CF522DE39}"/>
          </ac:spMkLst>
        </pc:spChg>
      </pc:sldChg>
    </pc:docChg>
  </pc:docChgLst>
  <pc:docChgLst>
    <pc:chgData name="Aurelien Domont" userId="6da7715ce44349b3" providerId="LiveId" clId="{3449D077-A1DA-4F47-B8D9-C941F4429A9D}"/>
    <pc:docChg chg="undo custSel addSld modSld sldOrd">
      <pc:chgData name="Aurelien Domont" userId="6da7715ce44349b3" providerId="LiveId" clId="{3449D077-A1DA-4F47-B8D9-C941F4429A9D}" dt="2021-04-20T08:28:23.360" v="506" actId="20577"/>
      <pc:docMkLst>
        <pc:docMk/>
      </pc:docMkLst>
      <pc:sldChg chg="modSp mod">
        <pc:chgData name="Aurelien Domont" userId="6da7715ce44349b3" providerId="LiveId" clId="{3449D077-A1DA-4F47-B8D9-C941F4429A9D}" dt="2021-04-20T07:46:44.943" v="56" actId="20577"/>
        <pc:sldMkLst>
          <pc:docMk/>
          <pc:sldMk cId="3131901387" sldId="256"/>
        </pc:sldMkLst>
        <pc:spChg chg="mod">
          <ac:chgData name="Aurelien Domont" userId="6da7715ce44349b3" providerId="LiveId" clId="{3449D077-A1DA-4F47-B8D9-C941F4429A9D}" dt="2021-04-20T07:46:44.943" v="56" actId="20577"/>
          <ac:spMkLst>
            <pc:docMk/>
            <pc:sldMk cId="3131901387" sldId="256"/>
            <ac:spMk id="2" creationId="{5261080C-C60C-4746-B6B1-A9A4FFA86785}"/>
          </ac:spMkLst>
        </pc:spChg>
      </pc:sldChg>
      <pc:sldChg chg="addSp delSp modSp mod">
        <pc:chgData name="Aurelien Domont" userId="6da7715ce44349b3" providerId="LiveId" clId="{3449D077-A1DA-4F47-B8D9-C941F4429A9D}" dt="2021-04-20T08:00:12.191" v="402" actId="20577"/>
        <pc:sldMkLst>
          <pc:docMk/>
          <pc:sldMk cId="1675062303" sldId="1929"/>
        </pc:sldMkLst>
        <pc:spChg chg="add del mod">
          <ac:chgData name="Aurelien Domont" userId="6da7715ce44349b3" providerId="LiveId" clId="{3449D077-A1DA-4F47-B8D9-C941F4429A9D}" dt="2021-04-20T07:59:30.716" v="395" actId="478"/>
          <ac:spMkLst>
            <pc:docMk/>
            <pc:sldMk cId="1675062303" sldId="1929"/>
            <ac:spMk id="4" creationId="{9B18F099-1742-4AA5-ADD8-4E5419A4588D}"/>
          </ac:spMkLst>
        </pc:spChg>
        <pc:spChg chg="add del mod">
          <ac:chgData name="Aurelien Domont" userId="6da7715ce44349b3" providerId="LiveId" clId="{3449D077-A1DA-4F47-B8D9-C941F4429A9D}" dt="2021-04-20T07:59:38.980" v="397" actId="14100"/>
          <ac:spMkLst>
            <pc:docMk/>
            <pc:sldMk cId="1675062303" sldId="1929"/>
            <ac:spMk id="16" creationId="{6C2BB713-9637-4B9B-938F-E9768876782A}"/>
          </ac:spMkLst>
        </pc:spChg>
        <pc:spChg chg="mod">
          <ac:chgData name="Aurelien Domont" userId="6da7715ce44349b3" providerId="LiveId" clId="{3449D077-A1DA-4F47-B8D9-C941F4429A9D}" dt="2021-04-20T08:00:12.191" v="402" actId="20577"/>
          <ac:spMkLst>
            <pc:docMk/>
            <pc:sldMk cId="1675062303" sldId="1929"/>
            <ac:spMk id="51" creationId="{0FA74DED-0524-47B0-A2AB-F8328467651E}"/>
          </ac:spMkLst>
        </pc:spChg>
      </pc:sldChg>
      <pc:sldChg chg="modSp mod">
        <pc:chgData name="Aurelien Domont" userId="6da7715ce44349b3" providerId="LiveId" clId="{3449D077-A1DA-4F47-B8D9-C941F4429A9D}" dt="2021-04-20T07:48:50.305" v="126" actId="20577"/>
        <pc:sldMkLst>
          <pc:docMk/>
          <pc:sldMk cId="471658671" sldId="1930"/>
        </pc:sldMkLst>
        <pc:spChg chg="mod">
          <ac:chgData name="Aurelien Domont" userId="6da7715ce44349b3" providerId="LiveId" clId="{3449D077-A1DA-4F47-B8D9-C941F4429A9D}" dt="2021-04-20T07:48:50.305" v="126" actId="20577"/>
          <ac:spMkLst>
            <pc:docMk/>
            <pc:sldMk cId="471658671" sldId="1930"/>
            <ac:spMk id="16" creationId="{6C2BB713-9637-4B9B-938F-E9768876782A}"/>
          </ac:spMkLst>
        </pc:spChg>
      </pc:sldChg>
      <pc:sldChg chg="modSp mod">
        <pc:chgData name="Aurelien Domont" userId="6da7715ce44349b3" providerId="LiveId" clId="{3449D077-A1DA-4F47-B8D9-C941F4429A9D}" dt="2021-04-20T07:57:19.757" v="314" actId="313"/>
        <pc:sldMkLst>
          <pc:docMk/>
          <pc:sldMk cId="423301223" sldId="2148"/>
        </pc:sldMkLst>
        <pc:graphicFrameChg chg="mod modGraphic">
          <ac:chgData name="Aurelien Domont" userId="6da7715ce44349b3" providerId="LiveId" clId="{3449D077-A1DA-4F47-B8D9-C941F4429A9D}" dt="2021-04-20T07:57:19.757" v="314" actId="313"/>
          <ac:graphicFrameMkLst>
            <pc:docMk/>
            <pc:sldMk cId="423301223" sldId="2148"/>
            <ac:graphicFrameMk id="6" creationId="{5C5525D8-81F1-4A24-A0BB-F27EAE382C06}"/>
          </ac:graphicFrameMkLst>
        </pc:graphicFrameChg>
      </pc:sldChg>
      <pc:sldChg chg="modSp mod">
        <pc:chgData name="Aurelien Domont" userId="6da7715ce44349b3" providerId="LiveId" clId="{3449D077-A1DA-4F47-B8D9-C941F4429A9D}" dt="2021-04-20T08:28:23.360" v="506" actId="20577"/>
        <pc:sldMkLst>
          <pc:docMk/>
          <pc:sldMk cId="1324642353" sldId="2152"/>
        </pc:sldMkLst>
        <pc:spChg chg="mod">
          <ac:chgData name="Aurelien Domont" userId="6da7715ce44349b3" providerId="LiveId" clId="{3449D077-A1DA-4F47-B8D9-C941F4429A9D}" dt="2021-04-20T07:50:51.268" v="142" actId="20577"/>
          <ac:spMkLst>
            <pc:docMk/>
            <pc:sldMk cId="1324642353" sldId="2152"/>
            <ac:spMk id="6" creationId="{C3CDFF47-2BDF-481B-8C77-A2EE049FF74B}"/>
          </ac:spMkLst>
        </pc:spChg>
        <pc:spChg chg="mod">
          <ac:chgData name="Aurelien Domont" userId="6da7715ce44349b3" providerId="LiveId" clId="{3449D077-A1DA-4F47-B8D9-C941F4429A9D}" dt="2021-04-20T07:50:45.641" v="140" actId="20577"/>
          <ac:spMkLst>
            <pc:docMk/>
            <pc:sldMk cId="1324642353" sldId="2152"/>
            <ac:spMk id="16" creationId="{6C2BB713-9637-4B9B-938F-E9768876782A}"/>
          </ac:spMkLst>
        </pc:spChg>
        <pc:spChg chg="mod">
          <ac:chgData name="Aurelien Domont" userId="6da7715ce44349b3" providerId="LiveId" clId="{3449D077-A1DA-4F47-B8D9-C941F4429A9D}" dt="2021-04-20T08:28:23.360" v="506" actId="20577"/>
          <ac:spMkLst>
            <pc:docMk/>
            <pc:sldMk cId="1324642353" sldId="2152"/>
            <ac:spMk id="18" creationId="{6D0D68B1-9DCF-46E2-87CD-C0AFC2962BA3}"/>
          </ac:spMkLst>
        </pc:spChg>
      </pc:sldChg>
      <pc:sldChg chg="modSp mod">
        <pc:chgData name="Aurelien Domont" userId="6da7715ce44349b3" providerId="LiveId" clId="{3449D077-A1DA-4F47-B8D9-C941F4429A9D}" dt="2021-04-20T07:48:15.856" v="108" actId="20577"/>
        <pc:sldMkLst>
          <pc:docMk/>
          <pc:sldMk cId="2226532108" sldId="2153"/>
        </pc:sldMkLst>
        <pc:spChg chg="mod">
          <ac:chgData name="Aurelien Domont" userId="6da7715ce44349b3" providerId="LiveId" clId="{3449D077-A1DA-4F47-B8D9-C941F4429A9D}" dt="2021-04-20T07:48:15.856" v="108" actId="20577"/>
          <ac:spMkLst>
            <pc:docMk/>
            <pc:sldMk cId="2226532108" sldId="2153"/>
            <ac:spMk id="33" creationId="{A7501CC5-3F4A-44E0-B2B8-6ED55A47C121}"/>
          </ac:spMkLst>
        </pc:spChg>
        <pc:spChg chg="mod">
          <ac:chgData name="Aurelien Domont" userId="6da7715ce44349b3" providerId="LiveId" clId="{3449D077-A1DA-4F47-B8D9-C941F4429A9D}" dt="2021-04-20T07:48:03.739" v="105" actId="20577"/>
          <ac:spMkLst>
            <pc:docMk/>
            <pc:sldMk cId="2226532108" sldId="2153"/>
            <ac:spMk id="37" creationId="{22049F5D-80E0-4952-8C95-093181A7EF1C}"/>
          </ac:spMkLst>
        </pc:spChg>
      </pc:sldChg>
      <pc:sldChg chg="modSp mod">
        <pc:chgData name="Aurelien Domont" userId="6da7715ce44349b3" providerId="LiveId" clId="{3449D077-A1DA-4F47-B8D9-C941F4429A9D}" dt="2021-04-20T07:58:59.334" v="393" actId="20577"/>
        <pc:sldMkLst>
          <pc:docMk/>
          <pc:sldMk cId="3613236081" sldId="2154"/>
        </pc:sldMkLst>
        <pc:spChg chg="mod">
          <ac:chgData name="Aurelien Domont" userId="6da7715ce44349b3" providerId="LiveId" clId="{3449D077-A1DA-4F47-B8D9-C941F4429A9D}" dt="2021-04-20T07:58:59.334" v="393" actId="20577"/>
          <ac:spMkLst>
            <pc:docMk/>
            <pc:sldMk cId="3613236081" sldId="2154"/>
            <ac:spMk id="16" creationId="{6C2BB713-9637-4B9B-938F-E9768876782A}"/>
          </ac:spMkLst>
        </pc:spChg>
      </pc:sldChg>
      <pc:sldChg chg="addSp delSp modSp add mod ord">
        <pc:chgData name="Aurelien Domont" userId="6da7715ce44349b3" providerId="LiveId" clId="{3449D077-A1DA-4F47-B8D9-C941F4429A9D}" dt="2021-04-20T08:08:19.839" v="478"/>
        <pc:sldMkLst>
          <pc:docMk/>
          <pc:sldMk cId="3175191540" sldId="2155"/>
        </pc:sldMkLst>
        <pc:spChg chg="del mod">
          <ac:chgData name="Aurelien Domont" userId="6da7715ce44349b3" providerId="LiveId" clId="{3449D077-A1DA-4F47-B8D9-C941F4429A9D}" dt="2021-04-20T08:00:06.358" v="400" actId="478"/>
          <ac:spMkLst>
            <pc:docMk/>
            <pc:sldMk cId="3175191540" sldId="2155"/>
            <ac:spMk id="32" creationId="{77C8B9FE-5149-44A2-9C03-07D804D83E7E}"/>
          </ac:spMkLst>
        </pc:spChg>
        <pc:spChg chg="mod">
          <ac:chgData name="Aurelien Domont" userId="6da7715ce44349b3" providerId="LiveId" clId="{3449D077-A1DA-4F47-B8D9-C941F4429A9D}" dt="2021-04-20T08:04:05.888" v="419" actId="20577"/>
          <ac:spMkLst>
            <pc:docMk/>
            <pc:sldMk cId="3175191540" sldId="2155"/>
            <ac:spMk id="50" creationId="{021A7501-6AAB-40F6-B45B-D5EE90117B55}"/>
          </ac:spMkLst>
        </pc:spChg>
        <pc:spChg chg="mod">
          <ac:chgData name="Aurelien Domont" userId="6da7715ce44349b3" providerId="LiveId" clId="{3449D077-A1DA-4F47-B8D9-C941F4429A9D}" dt="2021-04-20T08:00:18.881" v="403" actId="20577"/>
          <ac:spMkLst>
            <pc:docMk/>
            <pc:sldMk cId="3175191540" sldId="2155"/>
            <ac:spMk id="51" creationId="{0FA74DED-0524-47B0-A2AB-F8328467651E}"/>
          </ac:spMkLst>
        </pc:spChg>
        <pc:spChg chg="add mod">
          <ac:chgData name="Aurelien Domont" userId="6da7715ce44349b3" providerId="LiveId" clId="{3449D077-A1DA-4F47-B8D9-C941F4429A9D}" dt="2021-04-20T08:07:49.521" v="474" actId="20577"/>
          <ac:spMkLst>
            <pc:docMk/>
            <pc:sldMk cId="3175191540" sldId="2155"/>
            <ac:spMk id="58" creationId="{E7835114-5805-4825-95F0-387BA34A2F04}"/>
          </ac:spMkLst>
        </pc:spChg>
        <pc:spChg chg="add mod">
          <ac:chgData name="Aurelien Domont" userId="6da7715ce44349b3" providerId="LiveId" clId="{3449D077-A1DA-4F47-B8D9-C941F4429A9D}" dt="2021-04-20T08:08:00.854" v="475" actId="1076"/>
          <ac:spMkLst>
            <pc:docMk/>
            <pc:sldMk cId="3175191540" sldId="2155"/>
            <ac:spMk id="59" creationId="{EDA9BC40-59BA-4726-8DEB-1FF6CF517B5E}"/>
          </ac:spMkLst>
        </pc:spChg>
        <pc:spChg chg="add mod">
          <ac:chgData name="Aurelien Domont" userId="6da7715ce44349b3" providerId="LiveId" clId="{3449D077-A1DA-4F47-B8D9-C941F4429A9D}" dt="2021-04-20T08:08:02.824" v="476" actId="1076"/>
          <ac:spMkLst>
            <pc:docMk/>
            <pc:sldMk cId="3175191540" sldId="2155"/>
            <ac:spMk id="60" creationId="{1BBCD685-4F11-4A6A-A314-ED3EED32F807}"/>
          </ac:spMkLst>
        </pc:spChg>
        <pc:spChg chg="add mod">
          <ac:chgData name="Aurelien Domont" userId="6da7715ce44349b3" providerId="LiveId" clId="{3449D077-A1DA-4F47-B8D9-C941F4429A9D}" dt="2021-04-20T08:06:24.558" v="448" actId="20577"/>
          <ac:spMkLst>
            <pc:docMk/>
            <pc:sldMk cId="3175191540" sldId="2155"/>
            <ac:spMk id="61" creationId="{90562318-8F22-4950-AAFD-8BD4A7FD385A}"/>
          </ac:spMkLst>
        </pc:spChg>
        <pc:spChg chg="del mod">
          <ac:chgData name="Aurelien Domont" userId="6da7715ce44349b3" providerId="LiveId" clId="{3449D077-A1DA-4F47-B8D9-C941F4429A9D}" dt="2021-04-20T08:00:06.358" v="400" actId="478"/>
          <ac:spMkLst>
            <pc:docMk/>
            <pc:sldMk cId="3175191540" sldId="2155"/>
            <ac:spMk id="113" creationId="{A25F7426-C83A-4996-8F55-11E09AB514FD}"/>
          </ac:spMkLst>
        </pc:spChg>
        <pc:spChg chg="del mod">
          <ac:chgData name="Aurelien Domont" userId="6da7715ce44349b3" providerId="LiveId" clId="{3449D077-A1DA-4F47-B8D9-C941F4429A9D}" dt="2021-04-20T08:00:06.358" v="400" actId="478"/>
          <ac:spMkLst>
            <pc:docMk/>
            <pc:sldMk cId="3175191540" sldId="2155"/>
            <ac:spMk id="114" creationId="{617136ED-CBDB-4E11-8547-F8973B50CB97}"/>
          </ac:spMkLst>
        </pc:spChg>
        <pc:spChg chg="del mod">
          <ac:chgData name="Aurelien Domont" userId="6da7715ce44349b3" providerId="LiveId" clId="{3449D077-A1DA-4F47-B8D9-C941F4429A9D}" dt="2021-04-20T08:00:06.358" v="400" actId="478"/>
          <ac:spMkLst>
            <pc:docMk/>
            <pc:sldMk cId="3175191540" sldId="2155"/>
            <ac:spMk id="115" creationId="{9EE5EBFC-A934-414B-975C-CE01B940B6CD}"/>
          </ac:spMkLst>
        </pc:spChg>
        <pc:spChg chg="del mod">
          <ac:chgData name="Aurelien Domont" userId="6da7715ce44349b3" providerId="LiveId" clId="{3449D077-A1DA-4F47-B8D9-C941F4429A9D}" dt="2021-04-20T08:00:06.358" v="400" actId="478"/>
          <ac:spMkLst>
            <pc:docMk/>
            <pc:sldMk cId="3175191540" sldId="2155"/>
            <ac:spMk id="116" creationId="{F68210B4-67B6-4786-91C0-6D58CED7FF49}"/>
          </ac:spMkLst>
        </pc:spChg>
        <pc:spChg chg="del mod">
          <ac:chgData name="Aurelien Domont" userId="6da7715ce44349b3" providerId="LiveId" clId="{3449D077-A1DA-4F47-B8D9-C941F4429A9D}" dt="2021-04-20T08:00:06.358" v="400" actId="478"/>
          <ac:spMkLst>
            <pc:docMk/>
            <pc:sldMk cId="3175191540" sldId="2155"/>
            <ac:spMk id="117" creationId="{091F03B6-C2C5-4F9A-B53A-966DD031D465}"/>
          </ac:spMkLst>
        </pc:spChg>
        <pc:spChg chg="del mod">
          <ac:chgData name="Aurelien Domont" userId="6da7715ce44349b3" providerId="LiveId" clId="{3449D077-A1DA-4F47-B8D9-C941F4429A9D}" dt="2021-04-20T08:00:06.358" v="400" actId="478"/>
          <ac:spMkLst>
            <pc:docMk/>
            <pc:sldMk cId="3175191540" sldId="2155"/>
            <ac:spMk id="118" creationId="{94542872-64CB-48E3-87C2-10EBD587FB69}"/>
          </ac:spMkLst>
        </pc:spChg>
        <pc:spChg chg="del">
          <ac:chgData name="Aurelien Domont" userId="6da7715ce44349b3" providerId="LiveId" clId="{3449D077-A1DA-4F47-B8D9-C941F4429A9D}" dt="2021-04-20T08:00:06.358" v="400" actId="478"/>
          <ac:spMkLst>
            <pc:docMk/>
            <pc:sldMk cId="3175191540" sldId="2155"/>
            <ac:spMk id="119" creationId="{0C540759-0E6E-46EA-AC26-6EB59BE2DF5D}"/>
          </ac:spMkLst>
        </pc:spChg>
        <pc:spChg chg="del">
          <ac:chgData name="Aurelien Domont" userId="6da7715ce44349b3" providerId="LiveId" clId="{3449D077-A1DA-4F47-B8D9-C941F4429A9D}" dt="2021-04-20T08:00:06.358" v="400" actId="478"/>
          <ac:spMkLst>
            <pc:docMk/>
            <pc:sldMk cId="3175191540" sldId="2155"/>
            <ac:spMk id="120" creationId="{DE186239-6A2C-45CC-95C3-B4F22178B13C}"/>
          </ac:spMkLst>
        </pc:spChg>
        <pc:spChg chg="del">
          <ac:chgData name="Aurelien Domont" userId="6da7715ce44349b3" providerId="LiveId" clId="{3449D077-A1DA-4F47-B8D9-C941F4429A9D}" dt="2021-04-20T08:00:06.358" v="400" actId="478"/>
          <ac:spMkLst>
            <pc:docMk/>
            <pc:sldMk cId="3175191540" sldId="2155"/>
            <ac:spMk id="134" creationId="{9F7B0102-BF60-409B-805B-AF8E279D995D}"/>
          </ac:spMkLst>
        </pc:spChg>
        <pc:spChg chg="del">
          <ac:chgData name="Aurelien Domont" userId="6da7715ce44349b3" providerId="LiveId" clId="{3449D077-A1DA-4F47-B8D9-C941F4429A9D}" dt="2021-04-20T08:00:06.358" v="400" actId="478"/>
          <ac:spMkLst>
            <pc:docMk/>
            <pc:sldMk cId="3175191540" sldId="2155"/>
            <ac:spMk id="135" creationId="{57207B5B-D1F3-4165-913A-654F2037E3F7}"/>
          </ac:spMkLst>
        </pc:spChg>
        <pc:spChg chg="del">
          <ac:chgData name="Aurelien Domont" userId="6da7715ce44349b3" providerId="LiveId" clId="{3449D077-A1DA-4F47-B8D9-C941F4429A9D}" dt="2021-04-20T08:00:06.358" v="400" actId="478"/>
          <ac:spMkLst>
            <pc:docMk/>
            <pc:sldMk cId="3175191540" sldId="2155"/>
            <ac:spMk id="136" creationId="{DD11B4CC-8375-4E46-9695-8945699A76EB}"/>
          </ac:spMkLst>
        </pc:spChg>
        <pc:spChg chg="del">
          <ac:chgData name="Aurelien Domont" userId="6da7715ce44349b3" providerId="LiveId" clId="{3449D077-A1DA-4F47-B8D9-C941F4429A9D}" dt="2021-04-20T08:00:06.358" v="400" actId="478"/>
          <ac:spMkLst>
            <pc:docMk/>
            <pc:sldMk cId="3175191540" sldId="2155"/>
            <ac:spMk id="137" creationId="{09F2F1FD-0DD4-4BC9-A134-FA6F6B3532F5}"/>
          </ac:spMkLst>
        </pc:spChg>
        <pc:spChg chg="del">
          <ac:chgData name="Aurelien Domont" userId="6da7715ce44349b3" providerId="LiveId" clId="{3449D077-A1DA-4F47-B8D9-C941F4429A9D}" dt="2021-04-20T08:00:06.358" v="400" actId="478"/>
          <ac:spMkLst>
            <pc:docMk/>
            <pc:sldMk cId="3175191540" sldId="2155"/>
            <ac:spMk id="138" creationId="{CB843DD2-5ED4-4834-BCF3-CF9547B98AD8}"/>
          </ac:spMkLst>
        </pc:spChg>
        <pc:spChg chg="del">
          <ac:chgData name="Aurelien Domont" userId="6da7715ce44349b3" providerId="LiveId" clId="{3449D077-A1DA-4F47-B8D9-C941F4429A9D}" dt="2021-04-20T08:00:06.358" v="400" actId="478"/>
          <ac:spMkLst>
            <pc:docMk/>
            <pc:sldMk cId="3175191540" sldId="2155"/>
            <ac:spMk id="139" creationId="{878081A9-CE92-4D3B-826A-E4691FA892B6}"/>
          </ac:spMkLst>
        </pc:spChg>
        <pc:spChg chg="del">
          <ac:chgData name="Aurelien Domont" userId="6da7715ce44349b3" providerId="LiveId" clId="{3449D077-A1DA-4F47-B8D9-C941F4429A9D}" dt="2021-04-20T08:00:06.358" v="400" actId="478"/>
          <ac:spMkLst>
            <pc:docMk/>
            <pc:sldMk cId="3175191540" sldId="2155"/>
            <ac:spMk id="140" creationId="{FC3954BD-DE92-41AD-B346-CC4FDE7DA8DD}"/>
          </ac:spMkLst>
        </pc:spChg>
        <pc:spChg chg="del">
          <ac:chgData name="Aurelien Domont" userId="6da7715ce44349b3" providerId="LiveId" clId="{3449D077-A1DA-4F47-B8D9-C941F4429A9D}" dt="2021-04-20T08:00:06.358" v="400" actId="478"/>
          <ac:spMkLst>
            <pc:docMk/>
            <pc:sldMk cId="3175191540" sldId="2155"/>
            <ac:spMk id="141" creationId="{40267ADE-78B5-4E46-9230-EEC44DCF8915}"/>
          </ac:spMkLst>
        </pc:spChg>
        <pc:spChg chg="del">
          <ac:chgData name="Aurelien Domont" userId="6da7715ce44349b3" providerId="LiveId" clId="{3449D077-A1DA-4F47-B8D9-C941F4429A9D}" dt="2021-04-20T08:00:06.358" v="400" actId="478"/>
          <ac:spMkLst>
            <pc:docMk/>
            <pc:sldMk cId="3175191540" sldId="2155"/>
            <ac:spMk id="142" creationId="{97AC1EF8-79EC-4B9C-B7F5-6A01790A6CFC}"/>
          </ac:spMkLst>
        </pc:spChg>
        <pc:spChg chg="del">
          <ac:chgData name="Aurelien Domont" userId="6da7715ce44349b3" providerId="LiveId" clId="{3449D077-A1DA-4F47-B8D9-C941F4429A9D}" dt="2021-04-20T08:00:08.617" v="401" actId="478"/>
          <ac:spMkLst>
            <pc:docMk/>
            <pc:sldMk cId="3175191540" sldId="2155"/>
            <ac:spMk id="143" creationId="{CBA393DC-374A-45EC-9D5C-DD66DBC27679}"/>
          </ac:spMkLst>
        </pc:spChg>
        <pc:spChg chg="del">
          <ac:chgData name="Aurelien Domont" userId="6da7715ce44349b3" providerId="LiveId" clId="{3449D077-A1DA-4F47-B8D9-C941F4429A9D}" dt="2021-04-20T08:00:08.617" v="401" actId="478"/>
          <ac:spMkLst>
            <pc:docMk/>
            <pc:sldMk cId="3175191540" sldId="2155"/>
            <ac:spMk id="144" creationId="{24EBFD13-D8FA-4BB2-8E82-E3DC84588609}"/>
          </ac:spMkLst>
        </pc:spChg>
        <pc:spChg chg="del">
          <ac:chgData name="Aurelien Domont" userId="6da7715ce44349b3" providerId="LiveId" clId="{3449D077-A1DA-4F47-B8D9-C941F4429A9D}" dt="2021-04-20T08:00:08.617" v="401" actId="478"/>
          <ac:spMkLst>
            <pc:docMk/>
            <pc:sldMk cId="3175191540" sldId="2155"/>
            <ac:spMk id="145" creationId="{B0B0B941-236C-404F-B06F-D297AE66A220}"/>
          </ac:spMkLst>
        </pc:spChg>
        <pc:spChg chg="del">
          <ac:chgData name="Aurelien Domont" userId="6da7715ce44349b3" providerId="LiveId" clId="{3449D077-A1DA-4F47-B8D9-C941F4429A9D}" dt="2021-04-20T08:00:08.617" v="401" actId="478"/>
          <ac:spMkLst>
            <pc:docMk/>
            <pc:sldMk cId="3175191540" sldId="2155"/>
            <ac:spMk id="146" creationId="{1810207E-BE89-4502-AE0B-98BF06074BB0}"/>
          </ac:spMkLst>
        </pc:spChg>
        <pc:spChg chg="del">
          <ac:chgData name="Aurelien Domont" userId="6da7715ce44349b3" providerId="LiveId" clId="{3449D077-A1DA-4F47-B8D9-C941F4429A9D}" dt="2021-04-20T08:00:08.617" v="401" actId="478"/>
          <ac:spMkLst>
            <pc:docMk/>
            <pc:sldMk cId="3175191540" sldId="2155"/>
            <ac:spMk id="147" creationId="{EC86A18B-42E0-4F54-B91E-128062C4905F}"/>
          </ac:spMkLst>
        </pc:spChg>
        <pc:spChg chg="del">
          <ac:chgData name="Aurelien Domont" userId="6da7715ce44349b3" providerId="LiveId" clId="{3449D077-A1DA-4F47-B8D9-C941F4429A9D}" dt="2021-04-20T08:00:08.617" v="401" actId="478"/>
          <ac:spMkLst>
            <pc:docMk/>
            <pc:sldMk cId="3175191540" sldId="2155"/>
            <ac:spMk id="148" creationId="{72CFCA3A-6DEC-4BC5-A658-FBBDECF23617}"/>
          </ac:spMkLst>
        </pc:spChg>
        <pc:spChg chg="del">
          <ac:chgData name="Aurelien Domont" userId="6da7715ce44349b3" providerId="LiveId" clId="{3449D077-A1DA-4F47-B8D9-C941F4429A9D}" dt="2021-04-20T08:00:08.617" v="401" actId="478"/>
          <ac:spMkLst>
            <pc:docMk/>
            <pc:sldMk cId="3175191540" sldId="2155"/>
            <ac:spMk id="149" creationId="{E90DD80E-E38A-4625-91BD-7FDC9312A827}"/>
          </ac:spMkLst>
        </pc:spChg>
        <pc:spChg chg="del">
          <ac:chgData name="Aurelien Domont" userId="6da7715ce44349b3" providerId="LiveId" clId="{3449D077-A1DA-4F47-B8D9-C941F4429A9D}" dt="2021-04-20T08:00:08.617" v="401" actId="478"/>
          <ac:spMkLst>
            <pc:docMk/>
            <pc:sldMk cId="3175191540" sldId="2155"/>
            <ac:spMk id="150" creationId="{1FAFB220-21F0-4588-9224-442E3063EE2A}"/>
          </ac:spMkLst>
        </pc:spChg>
        <pc:spChg chg="del">
          <ac:chgData name="Aurelien Domont" userId="6da7715ce44349b3" providerId="LiveId" clId="{3449D077-A1DA-4F47-B8D9-C941F4429A9D}" dt="2021-04-20T08:00:08.617" v="401" actId="478"/>
          <ac:spMkLst>
            <pc:docMk/>
            <pc:sldMk cId="3175191540" sldId="2155"/>
            <ac:spMk id="151" creationId="{53326BF5-6112-4994-A9DD-3DB8FBAC030B}"/>
          </ac:spMkLst>
        </pc:spChg>
        <pc:spChg chg="del">
          <ac:chgData name="Aurelien Domont" userId="6da7715ce44349b3" providerId="LiveId" clId="{3449D077-A1DA-4F47-B8D9-C941F4429A9D}" dt="2021-04-20T08:00:08.617" v="401" actId="478"/>
          <ac:spMkLst>
            <pc:docMk/>
            <pc:sldMk cId="3175191540" sldId="2155"/>
            <ac:spMk id="152" creationId="{8D2224F5-2A34-495C-9078-71D32877DE4F}"/>
          </ac:spMkLst>
        </pc:spChg>
        <pc:spChg chg="del">
          <ac:chgData name="Aurelien Domont" userId="6da7715ce44349b3" providerId="LiveId" clId="{3449D077-A1DA-4F47-B8D9-C941F4429A9D}" dt="2021-04-20T08:00:08.617" v="401" actId="478"/>
          <ac:spMkLst>
            <pc:docMk/>
            <pc:sldMk cId="3175191540" sldId="2155"/>
            <ac:spMk id="153" creationId="{B75A2AEF-BD49-4E7B-8988-854976323B81}"/>
          </ac:spMkLst>
        </pc:spChg>
        <pc:spChg chg="del">
          <ac:chgData name="Aurelien Domont" userId="6da7715ce44349b3" providerId="LiveId" clId="{3449D077-A1DA-4F47-B8D9-C941F4429A9D}" dt="2021-04-20T08:00:08.617" v="401" actId="478"/>
          <ac:spMkLst>
            <pc:docMk/>
            <pc:sldMk cId="3175191540" sldId="2155"/>
            <ac:spMk id="154" creationId="{3577CCEB-F3AA-475A-9D67-8A938EF2F7EE}"/>
          </ac:spMkLst>
        </pc:spChg>
        <pc:spChg chg="del">
          <ac:chgData name="Aurelien Domont" userId="6da7715ce44349b3" providerId="LiveId" clId="{3449D077-A1DA-4F47-B8D9-C941F4429A9D}" dt="2021-04-20T08:00:08.617" v="401" actId="478"/>
          <ac:spMkLst>
            <pc:docMk/>
            <pc:sldMk cId="3175191540" sldId="2155"/>
            <ac:spMk id="155" creationId="{A32C28A0-64C1-4752-9999-EDD317702AEB}"/>
          </ac:spMkLst>
        </pc:spChg>
        <pc:spChg chg="del">
          <ac:chgData name="Aurelien Domont" userId="6da7715ce44349b3" providerId="LiveId" clId="{3449D077-A1DA-4F47-B8D9-C941F4429A9D}" dt="2021-04-20T08:00:08.617" v="401" actId="478"/>
          <ac:spMkLst>
            <pc:docMk/>
            <pc:sldMk cId="3175191540" sldId="2155"/>
            <ac:spMk id="156" creationId="{2AD97465-8C80-44B2-8709-053CF992D6E3}"/>
          </ac:spMkLst>
        </pc:spChg>
        <pc:spChg chg="del">
          <ac:chgData name="Aurelien Domont" userId="6da7715ce44349b3" providerId="LiveId" clId="{3449D077-A1DA-4F47-B8D9-C941F4429A9D}" dt="2021-04-20T08:00:08.617" v="401" actId="478"/>
          <ac:spMkLst>
            <pc:docMk/>
            <pc:sldMk cId="3175191540" sldId="2155"/>
            <ac:spMk id="157" creationId="{87768643-96E8-4D4F-8897-7C869705224A}"/>
          </ac:spMkLst>
        </pc:spChg>
        <pc:spChg chg="del">
          <ac:chgData name="Aurelien Domont" userId="6da7715ce44349b3" providerId="LiveId" clId="{3449D077-A1DA-4F47-B8D9-C941F4429A9D}" dt="2021-04-20T08:00:08.617" v="401" actId="478"/>
          <ac:spMkLst>
            <pc:docMk/>
            <pc:sldMk cId="3175191540" sldId="2155"/>
            <ac:spMk id="158" creationId="{D12D99E7-54F3-4DDA-9B48-F445C9AA0126}"/>
          </ac:spMkLst>
        </pc:spChg>
        <pc:spChg chg="del">
          <ac:chgData name="Aurelien Domont" userId="6da7715ce44349b3" providerId="LiveId" clId="{3449D077-A1DA-4F47-B8D9-C941F4429A9D}" dt="2021-04-20T08:00:08.617" v="401" actId="478"/>
          <ac:spMkLst>
            <pc:docMk/>
            <pc:sldMk cId="3175191540" sldId="2155"/>
            <ac:spMk id="159" creationId="{9854AE39-DA0B-4240-BF0E-47BC08F2A541}"/>
          </ac:spMkLst>
        </pc:spChg>
        <pc:spChg chg="del">
          <ac:chgData name="Aurelien Domont" userId="6da7715ce44349b3" providerId="LiveId" clId="{3449D077-A1DA-4F47-B8D9-C941F4429A9D}" dt="2021-04-20T08:00:08.617" v="401" actId="478"/>
          <ac:spMkLst>
            <pc:docMk/>
            <pc:sldMk cId="3175191540" sldId="2155"/>
            <ac:spMk id="160" creationId="{2BF676F8-D343-4096-99EC-4ADA96C4F8D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0/5/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0/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3700108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4246700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245022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2927719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098687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689657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108.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110.xml"/><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044042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111494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204600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29114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3490089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23783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330186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3504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511298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522007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70291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1740608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620257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83155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5987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23186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33497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68395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5420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17222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87441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6102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0956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92999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8293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040465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375801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856915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68811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14384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913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454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175341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7863508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468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51061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64769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59583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07409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5556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29DEE089-4400-3268-C153-4EE2D21D5636}"/>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29DEE089-4400-3268-C153-4EE2D21D56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2DE047-3167-03A1-9C1A-4E8BE6322A5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DBF13080-8264-78B6-2CD5-D2BDEE645640}"/>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2125329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55439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736867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612596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3774485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7667537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43402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49175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6639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7468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907188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64F1BA8B-3C76-1881-4D71-458CBE8DF542}"/>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64F1BA8B-3C76-1881-4D71-458CBE8DF54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659A658-F995-A50F-0B85-ABCAF5C1755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B9DCC97E-73E8-1E89-A742-2F491444FB4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A613510B-8B91-E1E2-6EB7-F9A509A2772A}"/>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3140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61052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066209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23203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64335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921864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90185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042074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6844237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941092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4741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2" name="Object 1" hidden="1">
            <a:extLst>
              <a:ext uri="{FF2B5EF4-FFF2-40B4-BE49-F238E27FC236}">
                <a16:creationId xmlns:a16="http://schemas.microsoft.com/office/drawing/2014/main" id="{EFA4A2CB-35E2-7737-7B4F-9CD218C4196A}"/>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EFA4A2CB-35E2-7737-7B4F-9CD218C41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3F9D9C7-EACD-36E1-6290-F761784A492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52B32362-5A07-EDF1-A415-EA5A2BB8B554}"/>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8070C0B0-2653-C6F7-3353-25E9E9AAF3D3}"/>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6533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661682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60467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90731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68774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836654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754478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4135688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53470CAB-9159-EF5E-CAB3-2E23A7EBBC93}"/>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53470CAB-9159-EF5E-CAB3-2E23A7EBBC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CCBAAF7-A8BA-3DFD-4DD1-CD5A38C41EFF}"/>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FC3BCB01-5E41-DE39-9BC2-C4783B7CCF3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F1AD3CCF-EF81-21A0-3584-8FB468D546D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15DDF2D-6B37-9EF8-A2BC-28A12049C6E1}"/>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4280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oleObject" Target="../embeddings/oleObject63.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ags" Target="../tags/tag120.xml"/><Relationship Id="rId5" Type="http://schemas.openxmlformats.org/officeDocument/2006/relationships/slideLayout" Target="../slideLayouts/slideLayout72.xml"/><Relationship Id="rId10" Type="http://schemas.openxmlformats.org/officeDocument/2006/relationships/tags" Target="../tags/tag119.xml"/><Relationship Id="rId4" Type="http://schemas.openxmlformats.org/officeDocument/2006/relationships/slideLayout" Target="../slideLayouts/slideLayout71.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6.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1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4.xml"/><Relationship Id="rId5" Type="http://schemas.openxmlformats.org/officeDocument/2006/relationships/slideLayout" Target="../slideLayouts/slideLayout9.xml"/><Relationship Id="rId15" Type="http://schemas.openxmlformats.org/officeDocument/2006/relationships/oleObject" Target="../embeddings/oleObject1.bin"/><Relationship Id="rId10" Type="http://schemas.openxmlformats.org/officeDocument/2006/relationships/tags" Target="../tags/tag13.xml"/><Relationship Id="rId4" Type="http://schemas.openxmlformats.org/officeDocument/2006/relationships/slideLayout" Target="../slideLayouts/slideLayout8.xml"/><Relationship Id="rId9" Type="http://schemas.openxmlformats.org/officeDocument/2006/relationships/tags" Target="../tags/tag1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7.xml"/><Relationship Id="rId5" Type="http://schemas.openxmlformats.org/officeDocument/2006/relationships/slideLayout" Target="../slideLayouts/slideLayout16.xml"/><Relationship Id="rId10" Type="http://schemas.openxmlformats.org/officeDocument/2006/relationships/tags" Target="../tags/tag36.xml"/><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23.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52.xml"/><Relationship Id="rId5" Type="http://schemas.openxmlformats.org/officeDocument/2006/relationships/slideLayout" Target="../slideLayouts/slideLayout24.xml"/><Relationship Id="rId10" Type="http://schemas.openxmlformats.org/officeDocument/2006/relationships/tags" Target="../tags/tag51.xml"/><Relationship Id="rId4" Type="http://schemas.openxmlformats.org/officeDocument/2006/relationships/slideLayout" Target="../slideLayouts/slideLayout2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oleObject" Target="../embeddings/oleObject32.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67.xml"/><Relationship Id="rId5" Type="http://schemas.openxmlformats.org/officeDocument/2006/relationships/slideLayout" Target="../slideLayouts/slideLayout32.xml"/><Relationship Id="rId10" Type="http://schemas.openxmlformats.org/officeDocument/2006/relationships/tags" Target="../tags/tag66.xml"/><Relationship Id="rId4" Type="http://schemas.openxmlformats.org/officeDocument/2006/relationships/slideLayout" Target="../slideLayouts/slideLayout3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oleObject" Target="../embeddings/oleObject41.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82.xml"/><Relationship Id="rId5" Type="http://schemas.openxmlformats.org/officeDocument/2006/relationships/slideLayout" Target="../slideLayouts/slideLayout40.xml"/><Relationship Id="rId10" Type="http://schemas.openxmlformats.org/officeDocument/2006/relationships/tags" Target="../tags/tag81.xml"/><Relationship Id="rId4" Type="http://schemas.openxmlformats.org/officeDocument/2006/relationships/slideLayout" Target="../slideLayouts/slideLayout3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oleObject" Target="../embeddings/oleObject50.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ags" Target="../tags/tag97.xml"/><Relationship Id="rId5" Type="http://schemas.openxmlformats.org/officeDocument/2006/relationships/slideLayout" Target="../slideLayouts/slideLayout48.xml"/><Relationship Id="rId10" Type="http://schemas.openxmlformats.org/officeDocument/2006/relationships/tags" Target="../tags/tag96.xml"/><Relationship Id="rId4" Type="http://schemas.openxmlformats.org/officeDocument/2006/relationships/slideLayout" Target="../slideLayouts/slideLayout4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emf"/><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59.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12.xml"/><Relationship Id="rId5" Type="http://schemas.openxmlformats.org/officeDocument/2006/relationships/slideLayout" Target="../slideLayouts/slideLayout56.xml"/><Relationship Id="rId10" Type="http://schemas.openxmlformats.org/officeDocument/2006/relationships/tags" Target="../tags/tag111.xml"/><Relationship Id="rId4" Type="http://schemas.openxmlformats.org/officeDocument/2006/relationships/slideLayout" Target="../slideLayouts/slideLayout5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61.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16.xml"/><Relationship Id="rId5" Type="http://schemas.openxmlformats.org/officeDocument/2006/relationships/slideLayout" Target="../slideLayouts/slideLayout64.xml"/><Relationship Id="rId10" Type="http://schemas.openxmlformats.org/officeDocument/2006/relationships/tags" Target="../tags/tag115.xml"/><Relationship Id="rId4" Type="http://schemas.openxmlformats.org/officeDocument/2006/relationships/slideLayout" Target="../slideLayouts/slideLayout63.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4003683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92A5B141-876E-2F89-8491-F1ADFCFB066F}"/>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92A5B141-876E-2F89-8491-F1ADFCFB066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BEEA355-D1F0-0D5C-2025-07DD0215DE0A}"/>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C71EACBD-4F8A-10D8-8E2A-C34A2E82676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2A9BB3BA-DFC3-35FB-FADC-E78C152AAC9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346754"/>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06363604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847859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2853511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2537914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8283787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35559333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86174191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0.xml.rels><?xml version="1.0" encoding="UTF-8" standalone="yes"?>
<Relationships xmlns="http://schemas.openxmlformats.org/package/2006/relationships"><Relationship Id="rId13" Type="http://schemas.openxmlformats.org/officeDocument/2006/relationships/image" Target="../media/image11.png"/><Relationship Id="rId18" Type="http://schemas.openxmlformats.org/officeDocument/2006/relationships/image" Target="../media/image16.svg"/><Relationship Id="rId26" Type="http://schemas.openxmlformats.org/officeDocument/2006/relationships/image" Target="../media/image24.svg"/><Relationship Id="rId39" Type="http://schemas.openxmlformats.org/officeDocument/2006/relationships/image" Target="../media/image37.png"/><Relationship Id="rId21" Type="http://schemas.openxmlformats.org/officeDocument/2006/relationships/image" Target="../media/image19.png"/><Relationship Id="rId34" Type="http://schemas.openxmlformats.org/officeDocument/2006/relationships/image" Target="../media/image32.svg"/><Relationship Id="rId42" Type="http://schemas.openxmlformats.org/officeDocument/2006/relationships/image" Target="../media/image40.svg"/><Relationship Id="rId7" Type="http://schemas.openxmlformats.org/officeDocument/2006/relationships/image" Target="../media/image2.emf"/><Relationship Id="rId2" Type="http://schemas.openxmlformats.org/officeDocument/2006/relationships/tags" Target="../tags/tag133.xml"/><Relationship Id="rId16" Type="http://schemas.openxmlformats.org/officeDocument/2006/relationships/image" Target="../media/image14.svg"/><Relationship Id="rId20" Type="http://schemas.openxmlformats.org/officeDocument/2006/relationships/image" Target="../media/image18.svg"/><Relationship Id="rId29" Type="http://schemas.openxmlformats.org/officeDocument/2006/relationships/image" Target="../media/image27.png"/><Relationship Id="rId41" Type="http://schemas.openxmlformats.org/officeDocument/2006/relationships/image" Target="../media/image39.png"/><Relationship Id="rId1" Type="http://schemas.openxmlformats.org/officeDocument/2006/relationships/tags" Target="../tags/tag132.xml"/><Relationship Id="rId6" Type="http://schemas.openxmlformats.org/officeDocument/2006/relationships/oleObject" Target="../embeddings/oleObject69.bin"/><Relationship Id="rId11" Type="http://schemas.openxmlformats.org/officeDocument/2006/relationships/image" Target="../media/image9.png"/><Relationship Id="rId24" Type="http://schemas.openxmlformats.org/officeDocument/2006/relationships/image" Target="../media/image22.svg"/><Relationship Id="rId32" Type="http://schemas.openxmlformats.org/officeDocument/2006/relationships/image" Target="../media/image30.svg"/><Relationship Id="rId37" Type="http://schemas.openxmlformats.org/officeDocument/2006/relationships/image" Target="../media/image35.png"/><Relationship Id="rId40" Type="http://schemas.openxmlformats.org/officeDocument/2006/relationships/image" Target="../media/image38.svg"/><Relationship Id="rId5" Type="http://schemas.openxmlformats.org/officeDocument/2006/relationships/notesSlide" Target="../notesSlides/notesSlide6.xml"/><Relationship Id="rId15" Type="http://schemas.openxmlformats.org/officeDocument/2006/relationships/image" Target="../media/image13.png"/><Relationship Id="rId23" Type="http://schemas.openxmlformats.org/officeDocument/2006/relationships/image" Target="../media/image21.png"/><Relationship Id="rId28" Type="http://schemas.openxmlformats.org/officeDocument/2006/relationships/image" Target="../media/image26.svg"/><Relationship Id="rId36" Type="http://schemas.openxmlformats.org/officeDocument/2006/relationships/image" Target="../media/image34.svg"/><Relationship Id="rId10" Type="http://schemas.openxmlformats.org/officeDocument/2006/relationships/image" Target="../media/image8.svg"/><Relationship Id="rId19" Type="http://schemas.openxmlformats.org/officeDocument/2006/relationships/image" Target="../media/image17.png"/><Relationship Id="rId31" Type="http://schemas.openxmlformats.org/officeDocument/2006/relationships/image" Target="../media/image29.png"/><Relationship Id="rId44" Type="http://schemas.openxmlformats.org/officeDocument/2006/relationships/image" Target="../media/image42.svg"/><Relationship Id="rId4" Type="http://schemas.openxmlformats.org/officeDocument/2006/relationships/slideLayout" Target="../slideLayouts/slideLayout7.xml"/><Relationship Id="rId9" Type="http://schemas.openxmlformats.org/officeDocument/2006/relationships/image" Target="../media/image7.png"/><Relationship Id="rId14" Type="http://schemas.openxmlformats.org/officeDocument/2006/relationships/image" Target="../media/image12.svg"/><Relationship Id="rId22" Type="http://schemas.openxmlformats.org/officeDocument/2006/relationships/image" Target="../media/image20.svg"/><Relationship Id="rId27" Type="http://schemas.openxmlformats.org/officeDocument/2006/relationships/image" Target="../media/image25.png"/><Relationship Id="rId30" Type="http://schemas.openxmlformats.org/officeDocument/2006/relationships/image" Target="../media/image28.svg"/><Relationship Id="rId35" Type="http://schemas.openxmlformats.org/officeDocument/2006/relationships/image" Target="../media/image33.png"/><Relationship Id="rId43" Type="http://schemas.openxmlformats.org/officeDocument/2006/relationships/image" Target="../media/image41.png"/><Relationship Id="rId8" Type="http://schemas.openxmlformats.org/officeDocument/2006/relationships/hyperlink" Target="http://www.domontconsulting.com/" TargetMode="External"/><Relationship Id="rId3" Type="http://schemas.openxmlformats.org/officeDocument/2006/relationships/tags" Target="../tags/tag134.xml"/><Relationship Id="rId12" Type="http://schemas.openxmlformats.org/officeDocument/2006/relationships/image" Target="../media/image10.svg"/><Relationship Id="rId17" Type="http://schemas.openxmlformats.org/officeDocument/2006/relationships/image" Target="../media/image15.png"/><Relationship Id="rId25" Type="http://schemas.openxmlformats.org/officeDocument/2006/relationships/image" Target="../media/image23.png"/><Relationship Id="rId33" Type="http://schemas.openxmlformats.org/officeDocument/2006/relationships/image" Target="../media/image31.png"/><Relationship Id="rId38" Type="http://schemas.openxmlformats.org/officeDocument/2006/relationships/image" Target="../media/image36.sv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7.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notesSlide" Target="../notesSlides/notesSlide7.xml"/><Relationship Id="rId9" Type="http://schemas.openxmlformats.org/officeDocument/2006/relationships/hyperlink" Target="https://www.domontconsulting.com/pages/full-access"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hyperlink" Target="https://www.domontconsulting.com/" TargetMode="Externa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8.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12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12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12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42266"/>
            <a:ext cx="11073049"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1165225"/>
            <a:r>
              <a:rPr lang="en-GB" sz="2400" kern="0" dirty="0"/>
              <a:t>Stakeholder Engagement Strategy</a:t>
            </a:r>
            <a:br>
              <a:rPr lang="en-GB" sz="2400" kern="0" dirty="0"/>
            </a:br>
            <a:r>
              <a:rPr lang="en-GB" b="0" kern="0" dirty="0"/>
              <a:t>Tutorial &amp; Template</a:t>
            </a:r>
            <a:endParaRPr lang="en-GB" sz="2400" b="0" kern="0" dirty="0"/>
          </a:p>
        </p:txBody>
      </p:sp>
      <p:pic>
        <p:nvPicPr>
          <p:cNvPr id="2" name="Picture 1">
            <a:hlinkClick r:id="rId6"/>
            <a:extLst>
              <a:ext uri="{FF2B5EF4-FFF2-40B4-BE49-F238E27FC236}">
                <a16:creationId xmlns:a16="http://schemas.microsoft.com/office/drawing/2014/main" id="{29780F9A-A116-356F-BBEE-7685FD0685AB}"/>
              </a:ext>
            </a:extLst>
          </p:cNvPr>
          <p:cNvPicPr>
            <a:picLocks noChangeAspect="1"/>
          </p:cNvPicPr>
          <p:nvPr/>
        </p:nvPicPr>
        <p:blipFill>
          <a:blip r:embed="rId7"/>
          <a:stretch>
            <a:fillRect/>
          </a:stretch>
        </p:blipFill>
        <p:spPr>
          <a:xfrm>
            <a:off x="7937621" y="434516"/>
            <a:ext cx="3740265" cy="879701"/>
          </a:xfrm>
          <a:prstGeom prst="rect">
            <a:avLst/>
          </a:prstGeom>
        </p:spPr>
      </p:pic>
      <p:grpSp>
        <p:nvGrpSpPr>
          <p:cNvPr id="3" name="Group 2">
            <a:extLst>
              <a:ext uri="{FF2B5EF4-FFF2-40B4-BE49-F238E27FC236}">
                <a16:creationId xmlns:a16="http://schemas.microsoft.com/office/drawing/2014/main" id="{FD51CB25-75F5-656F-25DC-502FEC9A6FD4}"/>
              </a:ext>
            </a:extLst>
          </p:cNvPr>
          <p:cNvGrpSpPr/>
          <p:nvPr/>
        </p:nvGrpSpPr>
        <p:grpSpPr>
          <a:xfrm>
            <a:off x="553545" y="324188"/>
            <a:ext cx="1110877" cy="1105896"/>
            <a:chOff x="9671172" y="5968374"/>
            <a:chExt cx="9645918" cy="9602674"/>
          </a:xfrm>
        </p:grpSpPr>
        <p:sp>
          <p:nvSpPr>
            <p:cNvPr id="10" name="Freeform: Shape 9">
              <a:extLst>
                <a:ext uri="{FF2B5EF4-FFF2-40B4-BE49-F238E27FC236}">
                  <a16:creationId xmlns:a16="http://schemas.microsoft.com/office/drawing/2014/main" id="{D2B71DD1-A6F8-B9B5-86AE-35512A6E60A5}"/>
                </a:ext>
              </a:extLst>
            </p:cNvPr>
            <p:cNvSpPr/>
            <p:nvPr/>
          </p:nvSpPr>
          <p:spPr>
            <a:xfrm>
              <a:off x="9714420" y="5968374"/>
              <a:ext cx="9559421" cy="4801077"/>
            </a:xfrm>
            <a:custGeom>
              <a:avLst/>
              <a:gdLst>
                <a:gd name="connsiteX0" fmla="*/ 4924567 w 9559421"/>
                <a:gd name="connsiteY0" fmla="*/ 8337 h 4801077"/>
                <a:gd name="connsiteX1" fmla="*/ 4915188 w 9559421"/>
                <a:gd name="connsiteY1" fmla="*/ 2605 h 4801077"/>
                <a:gd name="connsiteX2" fmla="*/ 4916751 w 9559421"/>
                <a:gd name="connsiteY2" fmla="*/ 1563 h 4801077"/>
                <a:gd name="connsiteX3" fmla="*/ 4909456 w 9559421"/>
                <a:gd name="connsiteY3" fmla="*/ 1042 h 4801077"/>
                <a:gd name="connsiteX4" fmla="*/ 4887571 w 9559421"/>
                <a:gd name="connsiteY4" fmla="*/ 22406 h 4801077"/>
                <a:gd name="connsiteX5" fmla="*/ 4908414 w 9559421"/>
                <a:gd name="connsiteY5" fmla="*/ 44811 h 4801077"/>
                <a:gd name="connsiteX6" fmla="*/ 4909456 w 9559421"/>
                <a:gd name="connsiteY6" fmla="*/ 44811 h 4801077"/>
                <a:gd name="connsiteX7" fmla="*/ 4931341 w 9559421"/>
                <a:gd name="connsiteY7" fmla="*/ 23448 h 4801077"/>
                <a:gd name="connsiteX8" fmla="*/ 4924567 w 9559421"/>
                <a:gd name="connsiteY8" fmla="*/ 8337 h 4801077"/>
                <a:gd name="connsiteX9" fmla="*/ 4778148 w 9559421"/>
                <a:gd name="connsiteY9" fmla="*/ 0 h 4801077"/>
                <a:gd name="connsiteX10" fmla="*/ 4646319 w 9559421"/>
                <a:gd name="connsiteY10" fmla="*/ 1563 h 4801077"/>
                <a:gd name="connsiteX11" fmla="*/ 4515012 w 9559421"/>
                <a:gd name="connsiteY11" fmla="*/ 6774 h 4801077"/>
                <a:gd name="connsiteX12" fmla="*/ 4499901 w 9559421"/>
                <a:gd name="connsiteY12" fmla="*/ 14069 h 4801077"/>
                <a:gd name="connsiteX13" fmla="*/ 4494690 w 9559421"/>
                <a:gd name="connsiteY13" fmla="*/ 29701 h 4801077"/>
                <a:gd name="connsiteX14" fmla="*/ 4516054 w 9559421"/>
                <a:gd name="connsiteY14" fmla="*/ 50022 h 4801077"/>
                <a:gd name="connsiteX15" fmla="*/ 4517617 w 9559421"/>
                <a:gd name="connsiteY15" fmla="*/ 50022 h 4801077"/>
                <a:gd name="connsiteX16" fmla="*/ 4647882 w 9559421"/>
                <a:gd name="connsiteY16" fmla="*/ 44811 h 4801077"/>
                <a:gd name="connsiteX17" fmla="*/ 4778148 w 9559421"/>
                <a:gd name="connsiteY17" fmla="*/ 43248 h 4801077"/>
                <a:gd name="connsiteX18" fmla="*/ 4800033 w 9559421"/>
                <a:gd name="connsiteY18" fmla="*/ 21364 h 4801077"/>
                <a:gd name="connsiteX19" fmla="*/ 4778148 w 9559421"/>
                <a:gd name="connsiteY19" fmla="*/ 0 h 4801077"/>
                <a:gd name="connsiteX20" fmla="*/ 4383703 w 9559421"/>
                <a:gd name="connsiteY20" fmla="*/ 16153 h 4801077"/>
                <a:gd name="connsiteX21" fmla="*/ 4379535 w 9559421"/>
                <a:gd name="connsiteY21" fmla="*/ 16674 h 4801077"/>
                <a:gd name="connsiteX22" fmla="*/ 4368593 w 9559421"/>
                <a:gd name="connsiteY22" fmla="*/ 23448 h 4801077"/>
                <a:gd name="connsiteX23" fmla="*/ 4363382 w 9559421"/>
                <a:gd name="connsiteY23" fmla="*/ 39601 h 4801077"/>
                <a:gd name="connsiteX24" fmla="*/ 4385788 w 9559421"/>
                <a:gd name="connsiteY24" fmla="*/ 59401 h 4801077"/>
                <a:gd name="connsiteX25" fmla="*/ 4387351 w 9559421"/>
                <a:gd name="connsiteY25" fmla="*/ 59401 h 4801077"/>
                <a:gd name="connsiteX26" fmla="*/ 4407152 w 9559421"/>
                <a:gd name="connsiteY26" fmla="*/ 35953 h 4801077"/>
                <a:gd name="connsiteX27" fmla="*/ 4383703 w 9559421"/>
                <a:gd name="connsiteY27" fmla="*/ 16153 h 4801077"/>
                <a:gd name="connsiteX28" fmla="*/ 5303380 w 9559421"/>
                <a:gd name="connsiteY28" fmla="*/ 28137 h 4801077"/>
                <a:gd name="connsiteX29" fmla="*/ 5172593 w 9559421"/>
                <a:gd name="connsiteY29" fmla="*/ 15632 h 4801077"/>
                <a:gd name="connsiteX30" fmla="*/ 5113713 w 9559421"/>
                <a:gd name="connsiteY30" fmla="*/ 11463 h 4801077"/>
                <a:gd name="connsiteX31" fmla="*/ 5041285 w 9559421"/>
                <a:gd name="connsiteY31" fmla="*/ 7295 h 4801077"/>
                <a:gd name="connsiteX32" fmla="*/ 5018358 w 9559421"/>
                <a:gd name="connsiteY32" fmla="*/ 27616 h 4801077"/>
                <a:gd name="connsiteX33" fmla="*/ 5024090 w 9559421"/>
                <a:gd name="connsiteY33" fmla="*/ 43248 h 4801077"/>
                <a:gd name="connsiteX34" fmla="*/ 5038680 w 9559421"/>
                <a:gd name="connsiteY34" fmla="*/ 50022 h 4801077"/>
                <a:gd name="connsiteX35" fmla="*/ 5168945 w 9559421"/>
                <a:gd name="connsiteY35" fmla="*/ 59401 h 4801077"/>
                <a:gd name="connsiteX36" fmla="*/ 5199167 w 9559421"/>
                <a:gd name="connsiteY36" fmla="*/ 62007 h 4801077"/>
                <a:gd name="connsiteX37" fmla="*/ 5298169 w 9559421"/>
                <a:gd name="connsiteY37" fmla="*/ 71386 h 4801077"/>
                <a:gd name="connsiteX38" fmla="*/ 5300774 w 9559421"/>
                <a:gd name="connsiteY38" fmla="*/ 71907 h 4801077"/>
                <a:gd name="connsiteX39" fmla="*/ 5322138 w 9559421"/>
                <a:gd name="connsiteY39" fmla="*/ 52106 h 4801077"/>
                <a:gd name="connsiteX40" fmla="*/ 5303380 w 9559421"/>
                <a:gd name="connsiteY40" fmla="*/ 28137 h 4801077"/>
                <a:gd name="connsiteX41" fmla="*/ 5448756 w 9559421"/>
                <a:gd name="connsiteY41" fmla="*/ 52627 h 4801077"/>
                <a:gd name="connsiteX42" fmla="*/ 5434167 w 9559421"/>
                <a:gd name="connsiteY42" fmla="*/ 44290 h 4801077"/>
                <a:gd name="connsiteX43" fmla="*/ 5409156 w 9559421"/>
                <a:gd name="connsiteY43" fmla="*/ 63049 h 4801077"/>
                <a:gd name="connsiteX44" fmla="*/ 5427914 w 9559421"/>
                <a:gd name="connsiteY44" fmla="*/ 87539 h 4801077"/>
                <a:gd name="connsiteX45" fmla="*/ 5431040 w 9559421"/>
                <a:gd name="connsiteY45" fmla="*/ 87539 h 4801077"/>
                <a:gd name="connsiteX46" fmla="*/ 5452404 w 9559421"/>
                <a:gd name="connsiteY46" fmla="*/ 68780 h 4801077"/>
                <a:gd name="connsiteX47" fmla="*/ 5448756 w 9559421"/>
                <a:gd name="connsiteY47" fmla="*/ 52627 h 4801077"/>
                <a:gd name="connsiteX48" fmla="*/ 4251875 w 9559421"/>
                <a:gd name="connsiteY48" fmla="*/ 28658 h 4801077"/>
                <a:gd name="connsiteX49" fmla="*/ 4121609 w 9559421"/>
                <a:gd name="connsiteY49" fmla="*/ 44811 h 4801077"/>
                <a:gd name="connsiteX50" fmla="*/ 3991343 w 9559421"/>
                <a:gd name="connsiteY50" fmla="*/ 64612 h 4801077"/>
                <a:gd name="connsiteX51" fmla="*/ 3976753 w 9559421"/>
                <a:gd name="connsiteY51" fmla="*/ 73991 h 4801077"/>
                <a:gd name="connsiteX52" fmla="*/ 3973106 w 9559421"/>
                <a:gd name="connsiteY52" fmla="*/ 90144 h 4801077"/>
                <a:gd name="connsiteX53" fmla="*/ 3994469 w 9559421"/>
                <a:gd name="connsiteY53" fmla="*/ 108381 h 4801077"/>
                <a:gd name="connsiteX54" fmla="*/ 3998117 w 9559421"/>
                <a:gd name="connsiteY54" fmla="*/ 107860 h 4801077"/>
                <a:gd name="connsiteX55" fmla="*/ 4127340 w 9559421"/>
                <a:gd name="connsiteY55" fmla="*/ 88060 h 4801077"/>
                <a:gd name="connsiteX56" fmla="*/ 4256564 w 9559421"/>
                <a:gd name="connsiteY56" fmla="*/ 71907 h 4801077"/>
                <a:gd name="connsiteX57" fmla="*/ 4271154 w 9559421"/>
                <a:gd name="connsiteY57" fmla="*/ 64091 h 4801077"/>
                <a:gd name="connsiteX58" fmla="*/ 4275322 w 9559421"/>
                <a:gd name="connsiteY58" fmla="*/ 47938 h 4801077"/>
                <a:gd name="connsiteX59" fmla="*/ 4251875 w 9559421"/>
                <a:gd name="connsiteY59" fmla="*/ 28658 h 4801077"/>
                <a:gd name="connsiteX60" fmla="*/ 3887130 w 9559421"/>
                <a:gd name="connsiteY60" fmla="*/ 105255 h 4801077"/>
                <a:gd name="connsiteX61" fmla="*/ 3862119 w 9559421"/>
                <a:gd name="connsiteY61" fmla="*/ 88060 h 4801077"/>
                <a:gd name="connsiteX62" fmla="*/ 3848051 w 9559421"/>
                <a:gd name="connsiteY62" fmla="*/ 97439 h 4801077"/>
                <a:gd name="connsiteX63" fmla="*/ 3844403 w 9559421"/>
                <a:gd name="connsiteY63" fmla="*/ 114113 h 4801077"/>
                <a:gd name="connsiteX64" fmla="*/ 3865767 w 9559421"/>
                <a:gd name="connsiteY64" fmla="*/ 131308 h 4801077"/>
                <a:gd name="connsiteX65" fmla="*/ 3869935 w 9559421"/>
                <a:gd name="connsiteY65" fmla="*/ 130787 h 4801077"/>
                <a:gd name="connsiteX66" fmla="*/ 3884004 w 9559421"/>
                <a:gd name="connsiteY66" fmla="*/ 121408 h 4801077"/>
                <a:gd name="connsiteX67" fmla="*/ 3887130 w 9559421"/>
                <a:gd name="connsiteY67" fmla="*/ 105255 h 4801077"/>
                <a:gd name="connsiteX68" fmla="*/ 5822880 w 9559421"/>
                <a:gd name="connsiteY68" fmla="*/ 114113 h 4801077"/>
                <a:gd name="connsiteX69" fmla="*/ 5695219 w 9559421"/>
                <a:gd name="connsiteY69" fmla="*/ 87539 h 4801077"/>
                <a:gd name="connsiteX70" fmla="*/ 5694698 w 9559421"/>
                <a:gd name="connsiteY70" fmla="*/ 89623 h 4801077"/>
                <a:gd name="connsiteX71" fmla="*/ 5694177 w 9559421"/>
                <a:gd name="connsiteY71" fmla="*/ 87539 h 4801077"/>
                <a:gd name="connsiteX72" fmla="*/ 5564432 w 9559421"/>
                <a:gd name="connsiteY72" fmla="*/ 64091 h 4801077"/>
                <a:gd name="connsiteX73" fmla="*/ 5539421 w 9559421"/>
                <a:gd name="connsiteY73" fmla="*/ 81807 h 4801077"/>
                <a:gd name="connsiteX74" fmla="*/ 5543069 w 9559421"/>
                <a:gd name="connsiteY74" fmla="*/ 97960 h 4801077"/>
                <a:gd name="connsiteX75" fmla="*/ 5557658 w 9559421"/>
                <a:gd name="connsiteY75" fmla="*/ 107339 h 4801077"/>
                <a:gd name="connsiteX76" fmla="*/ 5685840 w 9559421"/>
                <a:gd name="connsiteY76" fmla="*/ 130266 h 4801077"/>
                <a:gd name="connsiteX77" fmla="*/ 5813501 w 9559421"/>
                <a:gd name="connsiteY77" fmla="*/ 156840 h 4801077"/>
                <a:gd name="connsiteX78" fmla="*/ 5817669 w 9559421"/>
                <a:gd name="connsiteY78" fmla="*/ 157361 h 4801077"/>
                <a:gd name="connsiteX79" fmla="*/ 5839032 w 9559421"/>
                <a:gd name="connsiteY79" fmla="*/ 140166 h 4801077"/>
                <a:gd name="connsiteX80" fmla="*/ 5822880 w 9559421"/>
                <a:gd name="connsiteY80" fmla="*/ 114113 h 4801077"/>
                <a:gd name="connsiteX81" fmla="*/ 5951582 w 9559421"/>
                <a:gd name="connsiteY81" fmla="*/ 144335 h 4801077"/>
                <a:gd name="connsiteX82" fmla="*/ 5950019 w 9559421"/>
                <a:gd name="connsiteY82" fmla="*/ 143813 h 4801077"/>
                <a:gd name="connsiteX83" fmla="*/ 5925008 w 9559421"/>
                <a:gd name="connsiteY83" fmla="*/ 159966 h 4801077"/>
                <a:gd name="connsiteX84" fmla="*/ 5927613 w 9559421"/>
                <a:gd name="connsiteY84" fmla="*/ 176640 h 4801077"/>
                <a:gd name="connsiteX85" fmla="*/ 5932303 w 9559421"/>
                <a:gd name="connsiteY85" fmla="*/ 182372 h 4801077"/>
                <a:gd name="connsiteX86" fmla="*/ 5923445 w 9559421"/>
                <a:gd name="connsiteY86" fmla="*/ 182372 h 4801077"/>
                <a:gd name="connsiteX87" fmla="*/ 5940640 w 9559421"/>
                <a:gd name="connsiteY87" fmla="*/ 186541 h 4801077"/>
                <a:gd name="connsiteX88" fmla="*/ 5945851 w 9559421"/>
                <a:gd name="connsiteY88" fmla="*/ 187062 h 4801077"/>
                <a:gd name="connsiteX89" fmla="*/ 5967214 w 9559421"/>
                <a:gd name="connsiteY89" fmla="*/ 170909 h 4801077"/>
                <a:gd name="connsiteX90" fmla="*/ 5951582 w 9559421"/>
                <a:gd name="connsiteY90" fmla="*/ 144335 h 4801077"/>
                <a:gd name="connsiteX91" fmla="*/ 3758949 w 9559421"/>
                <a:gd name="connsiteY91" fmla="*/ 131308 h 4801077"/>
                <a:gd name="connsiteX92" fmla="*/ 3732896 w 9559421"/>
                <a:gd name="connsiteY92" fmla="*/ 114634 h 4801077"/>
                <a:gd name="connsiteX93" fmla="*/ 3604714 w 9559421"/>
                <a:gd name="connsiteY93" fmla="*/ 144856 h 4801077"/>
                <a:gd name="connsiteX94" fmla="*/ 3477575 w 9559421"/>
                <a:gd name="connsiteY94" fmla="*/ 178725 h 4801077"/>
                <a:gd name="connsiteX95" fmla="*/ 3464548 w 9559421"/>
                <a:gd name="connsiteY95" fmla="*/ 189146 h 4801077"/>
                <a:gd name="connsiteX96" fmla="*/ 3462464 w 9559421"/>
                <a:gd name="connsiteY96" fmla="*/ 205820 h 4801077"/>
                <a:gd name="connsiteX97" fmla="*/ 3483306 w 9559421"/>
                <a:gd name="connsiteY97" fmla="*/ 221452 h 4801077"/>
                <a:gd name="connsiteX98" fmla="*/ 3489559 w 9559421"/>
                <a:gd name="connsiteY98" fmla="*/ 220931 h 4801077"/>
                <a:gd name="connsiteX99" fmla="*/ 3615657 w 9559421"/>
                <a:gd name="connsiteY99" fmla="*/ 187062 h 4801077"/>
                <a:gd name="connsiteX100" fmla="*/ 3742275 w 9559421"/>
                <a:gd name="connsiteY100" fmla="*/ 156840 h 4801077"/>
                <a:gd name="connsiteX101" fmla="*/ 3758949 w 9559421"/>
                <a:gd name="connsiteY101" fmla="*/ 131308 h 4801077"/>
                <a:gd name="connsiteX102" fmla="*/ 3377010 w 9559421"/>
                <a:gd name="connsiteY102" fmla="*/ 248026 h 4801077"/>
                <a:gd name="connsiteX103" fmla="*/ 3378573 w 9559421"/>
                <a:gd name="connsiteY103" fmla="*/ 231352 h 4801077"/>
                <a:gd name="connsiteX104" fmla="*/ 3351478 w 9559421"/>
                <a:gd name="connsiteY104" fmla="*/ 216762 h 4801077"/>
                <a:gd name="connsiteX105" fmla="*/ 3338451 w 9559421"/>
                <a:gd name="connsiteY105" fmla="*/ 227184 h 4801077"/>
                <a:gd name="connsiteX106" fmla="*/ 3336888 w 9559421"/>
                <a:gd name="connsiteY106" fmla="*/ 243858 h 4801077"/>
                <a:gd name="connsiteX107" fmla="*/ 3357209 w 9559421"/>
                <a:gd name="connsiteY107" fmla="*/ 258968 h 4801077"/>
                <a:gd name="connsiteX108" fmla="*/ 3363983 w 9559421"/>
                <a:gd name="connsiteY108" fmla="*/ 257926 h 4801077"/>
                <a:gd name="connsiteX109" fmla="*/ 3377010 w 9559421"/>
                <a:gd name="connsiteY109" fmla="*/ 253758 h 4801077"/>
                <a:gd name="connsiteX110" fmla="*/ 3371278 w 9559421"/>
                <a:gd name="connsiteY110" fmla="*/ 253758 h 4801077"/>
                <a:gd name="connsiteX111" fmla="*/ 3377010 w 9559421"/>
                <a:gd name="connsiteY111" fmla="*/ 248026 h 4801077"/>
                <a:gd name="connsiteX112" fmla="*/ 6330395 w 9559421"/>
                <a:gd name="connsiteY112" fmla="*/ 256884 h 4801077"/>
                <a:gd name="connsiteX113" fmla="*/ 6204819 w 9559421"/>
                <a:gd name="connsiteY113" fmla="*/ 215720 h 4801077"/>
                <a:gd name="connsiteX114" fmla="*/ 6078721 w 9559421"/>
                <a:gd name="connsiteY114" fmla="*/ 178204 h 4801077"/>
                <a:gd name="connsiteX115" fmla="*/ 6051626 w 9559421"/>
                <a:gd name="connsiteY115" fmla="*/ 193314 h 4801077"/>
                <a:gd name="connsiteX116" fmla="*/ 6066737 w 9559421"/>
                <a:gd name="connsiteY116" fmla="*/ 219889 h 4801077"/>
                <a:gd name="connsiteX117" fmla="*/ 6190229 w 9559421"/>
                <a:gd name="connsiteY117" fmla="*/ 256363 h 4801077"/>
                <a:gd name="connsiteX118" fmla="*/ 6191792 w 9559421"/>
                <a:gd name="connsiteY118" fmla="*/ 257405 h 4801077"/>
                <a:gd name="connsiteX119" fmla="*/ 6193876 w 9559421"/>
                <a:gd name="connsiteY119" fmla="*/ 257926 h 4801077"/>
                <a:gd name="connsiteX120" fmla="*/ 6316326 w 9559421"/>
                <a:gd name="connsiteY120" fmla="*/ 298048 h 4801077"/>
                <a:gd name="connsiteX121" fmla="*/ 6323100 w 9559421"/>
                <a:gd name="connsiteY121" fmla="*/ 299611 h 4801077"/>
                <a:gd name="connsiteX122" fmla="*/ 6343422 w 9559421"/>
                <a:gd name="connsiteY122" fmla="*/ 285022 h 4801077"/>
                <a:gd name="connsiteX123" fmla="*/ 6330395 w 9559421"/>
                <a:gd name="connsiteY123" fmla="*/ 256884 h 4801077"/>
                <a:gd name="connsiteX124" fmla="*/ 6466914 w 9559421"/>
                <a:gd name="connsiteY124" fmla="*/ 312638 h 4801077"/>
                <a:gd name="connsiteX125" fmla="*/ 6454929 w 9559421"/>
                <a:gd name="connsiteY125" fmla="*/ 301175 h 4801077"/>
                <a:gd name="connsiteX126" fmla="*/ 6454408 w 9559421"/>
                <a:gd name="connsiteY126" fmla="*/ 301175 h 4801077"/>
                <a:gd name="connsiteX127" fmla="*/ 6426792 w 9559421"/>
                <a:gd name="connsiteY127" fmla="*/ 313680 h 4801077"/>
                <a:gd name="connsiteX128" fmla="*/ 6432523 w 9559421"/>
                <a:gd name="connsiteY128" fmla="*/ 337649 h 4801077"/>
                <a:gd name="connsiteX129" fmla="*/ 6428355 w 9559421"/>
                <a:gd name="connsiteY129" fmla="*/ 337649 h 4801077"/>
                <a:gd name="connsiteX130" fmla="*/ 6439818 w 9559421"/>
                <a:gd name="connsiteY130" fmla="*/ 341818 h 4801077"/>
                <a:gd name="connsiteX131" fmla="*/ 6447113 w 9559421"/>
                <a:gd name="connsiteY131" fmla="*/ 343381 h 4801077"/>
                <a:gd name="connsiteX132" fmla="*/ 6467434 w 9559421"/>
                <a:gd name="connsiteY132" fmla="*/ 329312 h 4801077"/>
                <a:gd name="connsiteX133" fmla="*/ 6466914 w 9559421"/>
                <a:gd name="connsiteY133" fmla="*/ 312638 h 4801077"/>
                <a:gd name="connsiteX134" fmla="*/ 3253518 w 9559421"/>
                <a:gd name="connsiteY134" fmla="*/ 271474 h 4801077"/>
                <a:gd name="connsiteX135" fmla="*/ 3226422 w 9559421"/>
                <a:gd name="connsiteY135" fmla="*/ 257926 h 4801077"/>
                <a:gd name="connsiteX136" fmla="*/ 3102409 w 9559421"/>
                <a:gd name="connsiteY136" fmla="*/ 302217 h 4801077"/>
                <a:gd name="connsiteX137" fmla="*/ 2979960 w 9559421"/>
                <a:gd name="connsiteY137" fmla="*/ 350676 h 4801077"/>
                <a:gd name="connsiteX138" fmla="*/ 2967975 w 9559421"/>
                <a:gd name="connsiteY138" fmla="*/ 362139 h 4801077"/>
                <a:gd name="connsiteX139" fmla="*/ 2967975 w 9559421"/>
                <a:gd name="connsiteY139" fmla="*/ 379334 h 4801077"/>
                <a:gd name="connsiteX140" fmla="*/ 2987775 w 9559421"/>
                <a:gd name="connsiteY140" fmla="*/ 392882 h 4801077"/>
                <a:gd name="connsiteX141" fmla="*/ 2996113 w 9559421"/>
                <a:gd name="connsiteY141" fmla="*/ 391319 h 4801077"/>
                <a:gd name="connsiteX142" fmla="*/ 3117520 w 9559421"/>
                <a:gd name="connsiteY142" fmla="*/ 343902 h 4801077"/>
                <a:gd name="connsiteX143" fmla="*/ 3240491 w 9559421"/>
                <a:gd name="connsiteY143" fmla="*/ 300132 h 4801077"/>
                <a:gd name="connsiteX144" fmla="*/ 3253518 w 9559421"/>
                <a:gd name="connsiteY144" fmla="*/ 271474 h 4801077"/>
                <a:gd name="connsiteX145" fmla="*/ 2887210 w 9559421"/>
                <a:gd name="connsiteY145" fmla="*/ 412682 h 4801077"/>
                <a:gd name="connsiteX146" fmla="*/ 2858552 w 9559421"/>
                <a:gd name="connsiteY146" fmla="*/ 401219 h 4801077"/>
                <a:gd name="connsiteX147" fmla="*/ 2856989 w 9559421"/>
                <a:gd name="connsiteY147" fmla="*/ 402261 h 4801077"/>
                <a:gd name="connsiteX148" fmla="*/ 2847089 w 9559421"/>
                <a:gd name="connsiteY148" fmla="*/ 413724 h 4801077"/>
                <a:gd name="connsiteX149" fmla="*/ 2847610 w 9559421"/>
                <a:gd name="connsiteY149" fmla="*/ 430398 h 4801077"/>
                <a:gd name="connsiteX150" fmla="*/ 2867410 w 9559421"/>
                <a:gd name="connsiteY150" fmla="*/ 443425 h 4801077"/>
                <a:gd name="connsiteX151" fmla="*/ 2876268 w 9559421"/>
                <a:gd name="connsiteY151" fmla="*/ 441862 h 4801077"/>
                <a:gd name="connsiteX152" fmla="*/ 2888252 w 9559421"/>
                <a:gd name="connsiteY152" fmla="*/ 429877 h 4801077"/>
                <a:gd name="connsiteX153" fmla="*/ 2887210 w 9559421"/>
                <a:gd name="connsiteY153" fmla="*/ 412682 h 4801077"/>
                <a:gd name="connsiteX154" fmla="*/ 6830615 w 9559421"/>
                <a:gd name="connsiteY154" fmla="*/ 467915 h 4801077"/>
                <a:gd name="connsiteX155" fmla="*/ 6819673 w 9559421"/>
                <a:gd name="connsiteY155" fmla="*/ 455409 h 4801077"/>
                <a:gd name="connsiteX156" fmla="*/ 6699829 w 9559421"/>
                <a:gd name="connsiteY156" fmla="*/ 401219 h 4801077"/>
                <a:gd name="connsiteX157" fmla="*/ 6577900 w 9559421"/>
                <a:gd name="connsiteY157" fmla="*/ 349633 h 4801077"/>
                <a:gd name="connsiteX158" fmla="*/ 6549762 w 9559421"/>
                <a:gd name="connsiteY158" fmla="*/ 361618 h 4801077"/>
                <a:gd name="connsiteX159" fmla="*/ 6561747 w 9559421"/>
                <a:gd name="connsiteY159" fmla="*/ 389755 h 4801077"/>
                <a:gd name="connsiteX160" fmla="*/ 6682113 w 9559421"/>
                <a:gd name="connsiteY160" fmla="*/ 440820 h 4801077"/>
                <a:gd name="connsiteX161" fmla="*/ 6801436 w 9559421"/>
                <a:gd name="connsiteY161" fmla="*/ 495010 h 4801077"/>
                <a:gd name="connsiteX162" fmla="*/ 6810815 w 9559421"/>
                <a:gd name="connsiteY162" fmla="*/ 497094 h 4801077"/>
                <a:gd name="connsiteX163" fmla="*/ 6830615 w 9559421"/>
                <a:gd name="connsiteY163" fmla="*/ 484589 h 4801077"/>
                <a:gd name="connsiteX164" fmla="*/ 6830615 w 9559421"/>
                <a:gd name="connsiteY164" fmla="*/ 467915 h 4801077"/>
                <a:gd name="connsiteX165" fmla="*/ 6937954 w 9559421"/>
                <a:gd name="connsiteY165" fmla="*/ 513768 h 4801077"/>
                <a:gd name="connsiteX166" fmla="*/ 6908775 w 9559421"/>
                <a:gd name="connsiteY166" fmla="*/ 523148 h 4801077"/>
                <a:gd name="connsiteX167" fmla="*/ 6907212 w 9559421"/>
                <a:gd name="connsiteY167" fmla="*/ 539822 h 4801077"/>
                <a:gd name="connsiteX168" fmla="*/ 6918154 w 9559421"/>
                <a:gd name="connsiteY168" fmla="*/ 552327 h 4801077"/>
                <a:gd name="connsiteX169" fmla="*/ 6927533 w 9559421"/>
                <a:gd name="connsiteY169" fmla="*/ 554411 h 4801077"/>
                <a:gd name="connsiteX170" fmla="*/ 6947334 w 9559421"/>
                <a:gd name="connsiteY170" fmla="*/ 542427 h 4801077"/>
                <a:gd name="connsiteX171" fmla="*/ 6937954 w 9559421"/>
                <a:gd name="connsiteY171" fmla="*/ 513768 h 4801077"/>
                <a:gd name="connsiteX172" fmla="*/ 2768408 w 9559421"/>
                <a:gd name="connsiteY172" fmla="*/ 466352 h 4801077"/>
                <a:gd name="connsiteX173" fmla="*/ 2739750 w 9559421"/>
                <a:gd name="connsiteY173" fmla="*/ 455930 h 4801077"/>
                <a:gd name="connsiteX174" fmla="*/ 2621989 w 9559421"/>
                <a:gd name="connsiteY174" fmla="*/ 513768 h 4801077"/>
                <a:gd name="connsiteX175" fmla="*/ 2620426 w 9559421"/>
                <a:gd name="connsiteY175" fmla="*/ 514289 h 4801077"/>
                <a:gd name="connsiteX176" fmla="*/ 2505271 w 9559421"/>
                <a:gd name="connsiteY176" fmla="*/ 574733 h 4801077"/>
                <a:gd name="connsiteX177" fmla="*/ 2496413 w 9559421"/>
                <a:gd name="connsiteY177" fmla="*/ 604433 h 4801077"/>
                <a:gd name="connsiteX178" fmla="*/ 2515692 w 9559421"/>
                <a:gd name="connsiteY178" fmla="*/ 615897 h 4801077"/>
                <a:gd name="connsiteX179" fmla="*/ 2526114 w 9559421"/>
                <a:gd name="connsiteY179" fmla="*/ 613292 h 4801077"/>
                <a:gd name="connsiteX180" fmla="*/ 2640226 w 9559421"/>
                <a:gd name="connsiteY180" fmla="*/ 553369 h 4801077"/>
                <a:gd name="connsiteX181" fmla="*/ 2641790 w 9559421"/>
                <a:gd name="connsiteY181" fmla="*/ 552848 h 4801077"/>
                <a:gd name="connsiteX182" fmla="*/ 2650127 w 9559421"/>
                <a:gd name="connsiteY182" fmla="*/ 548680 h 4801077"/>
                <a:gd name="connsiteX183" fmla="*/ 2758508 w 9559421"/>
                <a:gd name="connsiteY183" fmla="*/ 495531 h 4801077"/>
                <a:gd name="connsiteX184" fmla="*/ 2769971 w 9559421"/>
                <a:gd name="connsiteY184" fmla="*/ 483026 h 4801077"/>
                <a:gd name="connsiteX185" fmla="*/ 2768408 w 9559421"/>
                <a:gd name="connsiteY185" fmla="*/ 466352 h 4801077"/>
                <a:gd name="connsiteX186" fmla="*/ 2420338 w 9559421"/>
                <a:gd name="connsiteY186" fmla="*/ 647161 h 4801077"/>
                <a:gd name="connsiteX187" fmla="*/ 2390637 w 9559421"/>
                <a:gd name="connsiteY187" fmla="*/ 639345 h 4801077"/>
                <a:gd name="connsiteX188" fmla="*/ 2382300 w 9559421"/>
                <a:gd name="connsiteY188" fmla="*/ 669045 h 4801077"/>
                <a:gd name="connsiteX189" fmla="*/ 2401059 w 9559421"/>
                <a:gd name="connsiteY189" fmla="*/ 679988 h 4801077"/>
                <a:gd name="connsiteX190" fmla="*/ 2411480 w 9559421"/>
                <a:gd name="connsiteY190" fmla="*/ 677382 h 4801077"/>
                <a:gd name="connsiteX191" fmla="*/ 2412522 w 9559421"/>
                <a:gd name="connsiteY191" fmla="*/ 676861 h 4801077"/>
                <a:gd name="connsiteX192" fmla="*/ 2420338 w 9559421"/>
                <a:gd name="connsiteY192" fmla="*/ 647161 h 4801077"/>
                <a:gd name="connsiteX193" fmla="*/ 7292798 w 9559421"/>
                <a:gd name="connsiteY193" fmla="*/ 720631 h 4801077"/>
                <a:gd name="connsiteX194" fmla="*/ 7282898 w 9559421"/>
                <a:gd name="connsiteY194" fmla="*/ 707083 h 4801077"/>
                <a:gd name="connsiteX195" fmla="*/ 7169827 w 9559421"/>
                <a:gd name="connsiteY195" fmla="*/ 639866 h 4801077"/>
                <a:gd name="connsiteX196" fmla="*/ 7055193 w 9559421"/>
                <a:gd name="connsiteY196" fmla="*/ 575254 h 4801077"/>
                <a:gd name="connsiteX197" fmla="*/ 7053630 w 9559421"/>
                <a:gd name="connsiteY197" fmla="*/ 574733 h 4801077"/>
                <a:gd name="connsiteX198" fmla="*/ 7026014 w 9559421"/>
                <a:gd name="connsiteY198" fmla="*/ 584112 h 4801077"/>
                <a:gd name="connsiteX199" fmla="*/ 7024451 w 9559421"/>
                <a:gd name="connsiteY199" fmla="*/ 600786 h 4801077"/>
                <a:gd name="connsiteX200" fmla="*/ 7034872 w 9559421"/>
                <a:gd name="connsiteY200" fmla="*/ 613813 h 4801077"/>
                <a:gd name="connsiteX201" fmla="*/ 7148985 w 9559421"/>
                <a:gd name="connsiteY201" fmla="*/ 677903 h 4801077"/>
                <a:gd name="connsiteX202" fmla="*/ 7261013 w 9559421"/>
                <a:gd name="connsiteY202" fmla="*/ 744599 h 4801077"/>
                <a:gd name="connsiteX203" fmla="*/ 7272477 w 9559421"/>
                <a:gd name="connsiteY203" fmla="*/ 748247 h 4801077"/>
                <a:gd name="connsiteX204" fmla="*/ 7291235 w 9559421"/>
                <a:gd name="connsiteY204" fmla="*/ 737826 h 4801077"/>
                <a:gd name="connsiteX205" fmla="*/ 7292798 w 9559421"/>
                <a:gd name="connsiteY205" fmla="*/ 720631 h 4801077"/>
                <a:gd name="connsiteX206" fmla="*/ 7394406 w 9559421"/>
                <a:gd name="connsiteY206" fmla="*/ 777948 h 4801077"/>
                <a:gd name="connsiteX207" fmla="*/ 7394406 w 9559421"/>
                <a:gd name="connsiteY207" fmla="*/ 777948 h 4801077"/>
                <a:gd name="connsiteX208" fmla="*/ 7364184 w 9559421"/>
                <a:gd name="connsiteY208" fmla="*/ 784200 h 4801077"/>
                <a:gd name="connsiteX209" fmla="*/ 7370957 w 9559421"/>
                <a:gd name="connsiteY209" fmla="*/ 814422 h 4801077"/>
                <a:gd name="connsiteX210" fmla="*/ 7382943 w 9559421"/>
                <a:gd name="connsiteY210" fmla="*/ 818590 h 4801077"/>
                <a:gd name="connsiteX211" fmla="*/ 7401179 w 9559421"/>
                <a:gd name="connsiteY211" fmla="*/ 808690 h 4801077"/>
                <a:gd name="connsiteX212" fmla="*/ 7394406 w 9559421"/>
                <a:gd name="connsiteY212" fmla="*/ 777948 h 4801077"/>
                <a:gd name="connsiteX213" fmla="*/ 2307267 w 9559421"/>
                <a:gd name="connsiteY213" fmla="*/ 713336 h 4801077"/>
                <a:gd name="connsiteX214" fmla="*/ 2277045 w 9559421"/>
                <a:gd name="connsiteY214" fmla="*/ 706562 h 4801077"/>
                <a:gd name="connsiteX215" fmla="*/ 2166059 w 9559421"/>
                <a:gd name="connsiteY215" fmla="*/ 776905 h 4801077"/>
                <a:gd name="connsiteX216" fmla="*/ 2056636 w 9559421"/>
                <a:gd name="connsiteY216" fmla="*/ 850375 h 4801077"/>
                <a:gd name="connsiteX217" fmla="*/ 2047778 w 9559421"/>
                <a:gd name="connsiteY217" fmla="*/ 864444 h 4801077"/>
                <a:gd name="connsiteX218" fmla="*/ 2051425 w 9559421"/>
                <a:gd name="connsiteY218" fmla="*/ 880597 h 4801077"/>
                <a:gd name="connsiteX219" fmla="*/ 2069141 w 9559421"/>
                <a:gd name="connsiteY219" fmla="*/ 889976 h 4801077"/>
                <a:gd name="connsiteX220" fmla="*/ 2081126 w 9559421"/>
                <a:gd name="connsiteY220" fmla="*/ 885808 h 4801077"/>
                <a:gd name="connsiteX221" fmla="*/ 2189507 w 9559421"/>
                <a:gd name="connsiteY221" fmla="*/ 812859 h 4801077"/>
                <a:gd name="connsiteX222" fmla="*/ 2299451 w 9559421"/>
                <a:gd name="connsiteY222" fmla="*/ 743036 h 4801077"/>
                <a:gd name="connsiteX223" fmla="*/ 2307267 w 9559421"/>
                <a:gd name="connsiteY223" fmla="*/ 713336 h 4801077"/>
                <a:gd name="connsiteX224" fmla="*/ 1980561 w 9559421"/>
                <a:gd name="connsiteY224" fmla="*/ 931661 h 4801077"/>
                <a:gd name="connsiteX225" fmla="*/ 1950339 w 9559421"/>
                <a:gd name="connsiteY225" fmla="*/ 926972 h 4801077"/>
                <a:gd name="connsiteX226" fmla="*/ 1946170 w 9559421"/>
                <a:gd name="connsiteY226" fmla="*/ 957193 h 4801077"/>
                <a:gd name="connsiteX227" fmla="*/ 1963365 w 9559421"/>
                <a:gd name="connsiteY227" fmla="*/ 966572 h 4801077"/>
                <a:gd name="connsiteX228" fmla="*/ 1976392 w 9559421"/>
                <a:gd name="connsiteY228" fmla="*/ 962404 h 4801077"/>
                <a:gd name="connsiteX229" fmla="*/ 1980561 w 9559421"/>
                <a:gd name="connsiteY229" fmla="*/ 931661 h 4801077"/>
                <a:gd name="connsiteX230" fmla="*/ 7715902 w 9559421"/>
                <a:gd name="connsiteY230" fmla="*/ 1007736 h 4801077"/>
                <a:gd name="connsiteX231" fmla="*/ 7611168 w 9559421"/>
                <a:gd name="connsiteY231" fmla="*/ 928014 h 4801077"/>
                <a:gd name="connsiteX232" fmla="*/ 7504350 w 9559421"/>
                <a:gd name="connsiteY232" fmla="*/ 850896 h 4801077"/>
                <a:gd name="connsiteX233" fmla="*/ 7474129 w 9559421"/>
                <a:gd name="connsiteY233" fmla="*/ 856628 h 4801077"/>
                <a:gd name="connsiteX234" fmla="*/ 7470481 w 9559421"/>
                <a:gd name="connsiteY234" fmla="*/ 873302 h 4801077"/>
                <a:gd name="connsiteX235" fmla="*/ 7479860 w 9559421"/>
                <a:gd name="connsiteY235" fmla="*/ 886850 h 4801077"/>
                <a:gd name="connsiteX236" fmla="*/ 7586157 w 9559421"/>
                <a:gd name="connsiteY236" fmla="*/ 962925 h 4801077"/>
                <a:gd name="connsiteX237" fmla="*/ 7690369 w 9559421"/>
                <a:gd name="connsiteY237" fmla="*/ 1042127 h 4801077"/>
                <a:gd name="connsiteX238" fmla="*/ 7703396 w 9559421"/>
                <a:gd name="connsiteY238" fmla="*/ 1046295 h 4801077"/>
                <a:gd name="connsiteX239" fmla="*/ 7720591 w 9559421"/>
                <a:gd name="connsiteY239" fmla="*/ 1037958 h 4801077"/>
                <a:gd name="connsiteX240" fmla="*/ 7724760 w 9559421"/>
                <a:gd name="connsiteY240" fmla="*/ 1021805 h 4801077"/>
                <a:gd name="connsiteX241" fmla="*/ 7715902 w 9559421"/>
                <a:gd name="connsiteY241" fmla="*/ 1007736 h 4801077"/>
                <a:gd name="connsiteX242" fmla="*/ 7819072 w 9559421"/>
                <a:gd name="connsiteY242" fmla="*/ 1090064 h 4801077"/>
                <a:gd name="connsiteX243" fmla="*/ 7788329 w 9559421"/>
                <a:gd name="connsiteY243" fmla="*/ 1093191 h 4801077"/>
                <a:gd name="connsiteX244" fmla="*/ 7783640 w 9559421"/>
                <a:gd name="connsiteY244" fmla="*/ 1109344 h 4801077"/>
                <a:gd name="connsiteX245" fmla="*/ 7791456 w 9559421"/>
                <a:gd name="connsiteY245" fmla="*/ 1123934 h 4801077"/>
                <a:gd name="connsiteX246" fmla="*/ 7805525 w 9559421"/>
                <a:gd name="connsiteY246" fmla="*/ 1129144 h 4801077"/>
                <a:gd name="connsiteX247" fmla="*/ 7822198 w 9559421"/>
                <a:gd name="connsiteY247" fmla="*/ 1120807 h 4801077"/>
                <a:gd name="connsiteX248" fmla="*/ 7827409 w 9559421"/>
                <a:gd name="connsiteY248" fmla="*/ 1105175 h 4801077"/>
                <a:gd name="connsiteX249" fmla="*/ 7819072 w 9559421"/>
                <a:gd name="connsiteY249" fmla="*/ 1090064 h 4801077"/>
                <a:gd name="connsiteX250" fmla="*/ 1876348 w 9559421"/>
                <a:gd name="connsiteY250" fmla="*/ 1010342 h 4801077"/>
                <a:gd name="connsiteX251" fmla="*/ 1845605 w 9559421"/>
                <a:gd name="connsiteY251" fmla="*/ 1006173 h 4801077"/>
                <a:gd name="connsiteX252" fmla="*/ 1744519 w 9559421"/>
                <a:gd name="connsiteY252" fmla="*/ 1086938 h 4801077"/>
                <a:gd name="connsiteX253" fmla="*/ 1742956 w 9559421"/>
                <a:gd name="connsiteY253" fmla="*/ 1088501 h 4801077"/>
                <a:gd name="connsiteX254" fmla="*/ 1642912 w 9559421"/>
                <a:gd name="connsiteY254" fmla="*/ 1173956 h 4801077"/>
                <a:gd name="connsiteX255" fmla="*/ 1635096 w 9559421"/>
                <a:gd name="connsiteY255" fmla="*/ 1188545 h 4801077"/>
                <a:gd name="connsiteX256" fmla="*/ 1640828 w 9559421"/>
                <a:gd name="connsiteY256" fmla="*/ 1204177 h 4801077"/>
                <a:gd name="connsiteX257" fmla="*/ 1656981 w 9559421"/>
                <a:gd name="connsiteY257" fmla="*/ 1211472 h 4801077"/>
                <a:gd name="connsiteX258" fmla="*/ 1671570 w 9559421"/>
                <a:gd name="connsiteY258" fmla="*/ 1206262 h 4801077"/>
                <a:gd name="connsiteX259" fmla="*/ 1674176 w 9559421"/>
                <a:gd name="connsiteY259" fmla="*/ 1204177 h 4801077"/>
                <a:gd name="connsiteX260" fmla="*/ 1771093 w 9559421"/>
                <a:gd name="connsiteY260" fmla="*/ 1121849 h 4801077"/>
                <a:gd name="connsiteX261" fmla="*/ 1872701 w 9559421"/>
                <a:gd name="connsiteY261" fmla="*/ 1040563 h 4801077"/>
                <a:gd name="connsiteX262" fmla="*/ 1876348 w 9559421"/>
                <a:gd name="connsiteY262" fmla="*/ 1010342 h 4801077"/>
                <a:gd name="connsiteX263" fmla="*/ 1575174 w 9559421"/>
                <a:gd name="connsiteY263" fmla="*/ 1262536 h 4801077"/>
                <a:gd name="connsiteX264" fmla="*/ 1544431 w 9559421"/>
                <a:gd name="connsiteY264" fmla="*/ 1260973 h 4801077"/>
                <a:gd name="connsiteX265" fmla="*/ 1537657 w 9559421"/>
                <a:gd name="connsiteY265" fmla="*/ 1276084 h 4801077"/>
                <a:gd name="connsiteX266" fmla="*/ 1543389 w 9559421"/>
                <a:gd name="connsiteY266" fmla="*/ 1291716 h 4801077"/>
                <a:gd name="connsiteX267" fmla="*/ 1559542 w 9559421"/>
                <a:gd name="connsiteY267" fmla="*/ 1298490 h 4801077"/>
                <a:gd name="connsiteX268" fmla="*/ 1574132 w 9559421"/>
                <a:gd name="connsiteY268" fmla="*/ 1292758 h 4801077"/>
                <a:gd name="connsiteX269" fmla="*/ 1575174 w 9559421"/>
                <a:gd name="connsiteY269" fmla="*/ 1262536 h 4801077"/>
                <a:gd name="connsiteX270" fmla="*/ 8112952 w 9559421"/>
                <a:gd name="connsiteY270" fmla="*/ 1353722 h 4801077"/>
                <a:gd name="connsiteX271" fmla="*/ 8017076 w 9559421"/>
                <a:gd name="connsiteY271" fmla="*/ 1263057 h 4801077"/>
                <a:gd name="connsiteX272" fmla="*/ 7919116 w 9559421"/>
                <a:gd name="connsiteY272" fmla="*/ 1174998 h 4801077"/>
                <a:gd name="connsiteX273" fmla="*/ 7888373 w 9559421"/>
                <a:gd name="connsiteY273" fmla="*/ 1177082 h 4801077"/>
                <a:gd name="connsiteX274" fmla="*/ 7883163 w 9559421"/>
                <a:gd name="connsiteY274" fmla="*/ 1192714 h 4801077"/>
                <a:gd name="connsiteX275" fmla="*/ 7890457 w 9559421"/>
                <a:gd name="connsiteY275" fmla="*/ 1207304 h 4801077"/>
                <a:gd name="connsiteX276" fmla="*/ 7890979 w 9559421"/>
                <a:gd name="connsiteY276" fmla="*/ 1208346 h 4801077"/>
                <a:gd name="connsiteX277" fmla="*/ 7987375 w 9559421"/>
                <a:gd name="connsiteY277" fmla="*/ 1294842 h 4801077"/>
                <a:gd name="connsiteX278" fmla="*/ 8082209 w 9559421"/>
                <a:gd name="connsiteY278" fmla="*/ 1384465 h 4801077"/>
                <a:gd name="connsiteX279" fmla="*/ 8097319 w 9559421"/>
                <a:gd name="connsiteY279" fmla="*/ 1390718 h 4801077"/>
                <a:gd name="connsiteX280" fmla="*/ 8112952 w 9559421"/>
                <a:gd name="connsiteY280" fmla="*/ 1383944 h 4801077"/>
                <a:gd name="connsiteX281" fmla="*/ 8112952 w 9559421"/>
                <a:gd name="connsiteY281" fmla="*/ 1353722 h 4801077"/>
                <a:gd name="connsiteX282" fmla="*/ 8206222 w 9559421"/>
                <a:gd name="connsiteY282" fmla="*/ 1446993 h 4801077"/>
                <a:gd name="connsiteX283" fmla="*/ 8175479 w 9559421"/>
                <a:gd name="connsiteY283" fmla="*/ 1446472 h 4801077"/>
                <a:gd name="connsiteX284" fmla="*/ 8174958 w 9559421"/>
                <a:gd name="connsiteY284" fmla="*/ 1477215 h 4801077"/>
                <a:gd name="connsiteX285" fmla="*/ 8190590 w 9559421"/>
                <a:gd name="connsiteY285" fmla="*/ 1483988 h 4801077"/>
                <a:gd name="connsiteX286" fmla="*/ 8205701 w 9559421"/>
                <a:gd name="connsiteY286" fmla="*/ 1477736 h 4801077"/>
                <a:gd name="connsiteX287" fmla="*/ 8206222 w 9559421"/>
                <a:gd name="connsiteY287" fmla="*/ 1446993 h 4801077"/>
                <a:gd name="connsiteX288" fmla="*/ 1479819 w 9559421"/>
                <a:gd name="connsiteY288" fmla="*/ 1352159 h 4801077"/>
                <a:gd name="connsiteX289" fmla="*/ 1449076 w 9559421"/>
                <a:gd name="connsiteY289" fmla="*/ 1351638 h 4801077"/>
                <a:gd name="connsiteX290" fmla="*/ 1355806 w 9559421"/>
                <a:gd name="connsiteY290" fmla="*/ 1444909 h 4801077"/>
                <a:gd name="connsiteX291" fmla="*/ 1265141 w 9559421"/>
                <a:gd name="connsiteY291" fmla="*/ 1540784 h 4801077"/>
                <a:gd name="connsiteX292" fmla="*/ 1259409 w 9559421"/>
                <a:gd name="connsiteY292" fmla="*/ 1556416 h 4801077"/>
                <a:gd name="connsiteX293" fmla="*/ 1266183 w 9559421"/>
                <a:gd name="connsiteY293" fmla="*/ 1571006 h 4801077"/>
                <a:gd name="connsiteX294" fmla="*/ 1280773 w 9559421"/>
                <a:gd name="connsiteY294" fmla="*/ 1577259 h 4801077"/>
                <a:gd name="connsiteX295" fmla="*/ 1296405 w 9559421"/>
                <a:gd name="connsiteY295" fmla="*/ 1570485 h 4801077"/>
                <a:gd name="connsiteX296" fmla="*/ 1386549 w 9559421"/>
                <a:gd name="connsiteY296" fmla="*/ 1475651 h 4801077"/>
                <a:gd name="connsiteX297" fmla="*/ 1478777 w 9559421"/>
                <a:gd name="connsiteY297" fmla="*/ 1383423 h 4801077"/>
                <a:gd name="connsiteX298" fmla="*/ 1479819 w 9559421"/>
                <a:gd name="connsiteY298" fmla="*/ 1352159 h 4801077"/>
                <a:gd name="connsiteX299" fmla="*/ 1215119 w 9559421"/>
                <a:gd name="connsiteY299" fmla="*/ 1651250 h 4801077"/>
                <a:gd name="connsiteX300" fmla="*/ 1207824 w 9559421"/>
                <a:gd name="connsiteY300" fmla="*/ 1636139 h 4801077"/>
                <a:gd name="connsiteX301" fmla="*/ 1177603 w 9559421"/>
                <a:gd name="connsiteY301" fmla="*/ 1638223 h 4801077"/>
                <a:gd name="connsiteX302" fmla="*/ 1171871 w 9559421"/>
                <a:gd name="connsiteY302" fmla="*/ 1653855 h 4801077"/>
                <a:gd name="connsiteX303" fmla="*/ 1179687 w 9559421"/>
                <a:gd name="connsiteY303" fmla="*/ 1668966 h 4801077"/>
                <a:gd name="connsiteX304" fmla="*/ 1193755 w 9559421"/>
                <a:gd name="connsiteY304" fmla="*/ 1674177 h 4801077"/>
                <a:gd name="connsiteX305" fmla="*/ 1210429 w 9559421"/>
                <a:gd name="connsiteY305" fmla="*/ 1666882 h 4801077"/>
                <a:gd name="connsiteX306" fmla="*/ 1213556 w 9559421"/>
                <a:gd name="connsiteY306" fmla="*/ 1663234 h 4801077"/>
                <a:gd name="connsiteX307" fmla="*/ 1212514 w 9559421"/>
                <a:gd name="connsiteY307" fmla="*/ 1663234 h 4801077"/>
                <a:gd name="connsiteX308" fmla="*/ 1215119 w 9559421"/>
                <a:gd name="connsiteY308" fmla="*/ 1651250 h 4801077"/>
                <a:gd name="connsiteX309" fmla="*/ 8469358 w 9559421"/>
                <a:gd name="connsiteY309" fmla="*/ 1740873 h 4801077"/>
                <a:gd name="connsiteX310" fmla="*/ 8385467 w 9559421"/>
                <a:gd name="connsiteY310" fmla="*/ 1641871 h 4801077"/>
                <a:gd name="connsiteX311" fmla="*/ 8384426 w 9559421"/>
                <a:gd name="connsiteY311" fmla="*/ 1640307 h 4801077"/>
                <a:gd name="connsiteX312" fmla="*/ 8296366 w 9559421"/>
                <a:gd name="connsiteY312" fmla="*/ 1542347 h 4801077"/>
                <a:gd name="connsiteX313" fmla="*/ 8265623 w 9559421"/>
                <a:gd name="connsiteY313" fmla="*/ 1540784 h 4801077"/>
                <a:gd name="connsiteX314" fmla="*/ 8258849 w 9559421"/>
                <a:gd name="connsiteY314" fmla="*/ 1555895 h 4801077"/>
                <a:gd name="connsiteX315" fmla="*/ 8264581 w 9559421"/>
                <a:gd name="connsiteY315" fmla="*/ 1571527 h 4801077"/>
                <a:gd name="connsiteX316" fmla="*/ 8351598 w 9559421"/>
                <a:gd name="connsiteY316" fmla="*/ 1668445 h 4801077"/>
                <a:gd name="connsiteX317" fmla="*/ 8436010 w 9559421"/>
                <a:gd name="connsiteY317" fmla="*/ 1767968 h 4801077"/>
                <a:gd name="connsiteX318" fmla="*/ 8453205 w 9559421"/>
                <a:gd name="connsiteY318" fmla="*/ 1775784 h 4801077"/>
                <a:gd name="connsiteX319" fmla="*/ 8467274 w 9559421"/>
                <a:gd name="connsiteY319" fmla="*/ 1770573 h 4801077"/>
                <a:gd name="connsiteX320" fmla="*/ 8469358 w 9559421"/>
                <a:gd name="connsiteY320" fmla="*/ 1740873 h 4801077"/>
                <a:gd name="connsiteX321" fmla="*/ 8552208 w 9559421"/>
                <a:gd name="connsiteY321" fmla="*/ 1843522 h 4801077"/>
                <a:gd name="connsiteX322" fmla="*/ 8551165 w 9559421"/>
                <a:gd name="connsiteY322" fmla="*/ 1842480 h 4801077"/>
                <a:gd name="connsiteX323" fmla="*/ 8520944 w 9559421"/>
                <a:gd name="connsiteY323" fmla="*/ 1839875 h 4801077"/>
                <a:gd name="connsiteX324" fmla="*/ 8512607 w 9559421"/>
                <a:gd name="connsiteY324" fmla="*/ 1857070 h 4801077"/>
                <a:gd name="connsiteX325" fmla="*/ 8517296 w 9559421"/>
                <a:gd name="connsiteY325" fmla="*/ 1870096 h 4801077"/>
                <a:gd name="connsiteX326" fmla="*/ 8534491 w 9559421"/>
                <a:gd name="connsiteY326" fmla="*/ 1878954 h 4801077"/>
                <a:gd name="connsiteX327" fmla="*/ 8548039 w 9559421"/>
                <a:gd name="connsiteY327" fmla="*/ 1874265 h 4801077"/>
                <a:gd name="connsiteX328" fmla="*/ 8552208 w 9559421"/>
                <a:gd name="connsiteY328" fmla="*/ 1843522 h 4801077"/>
                <a:gd name="connsiteX329" fmla="*/ 1122370 w 9559421"/>
                <a:gd name="connsiteY329" fmla="*/ 1735662 h 4801077"/>
                <a:gd name="connsiteX330" fmla="*/ 1092148 w 9559421"/>
                <a:gd name="connsiteY330" fmla="*/ 1738788 h 4801077"/>
                <a:gd name="connsiteX331" fmla="*/ 1009299 w 9559421"/>
                <a:gd name="connsiteY331" fmla="*/ 1841438 h 4801077"/>
                <a:gd name="connsiteX332" fmla="*/ 929576 w 9559421"/>
                <a:gd name="connsiteY332" fmla="*/ 1946693 h 4801077"/>
                <a:gd name="connsiteX333" fmla="*/ 925408 w 9559421"/>
                <a:gd name="connsiteY333" fmla="*/ 1962845 h 4801077"/>
                <a:gd name="connsiteX334" fmla="*/ 934266 w 9559421"/>
                <a:gd name="connsiteY334" fmla="*/ 1977435 h 4801077"/>
                <a:gd name="connsiteX335" fmla="*/ 946772 w 9559421"/>
                <a:gd name="connsiteY335" fmla="*/ 1981604 h 4801077"/>
                <a:gd name="connsiteX336" fmla="*/ 964488 w 9559421"/>
                <a:gd name="connsiteY336" fmla="*/ 1972746 h 4801077"/>
                <a:gd name="connsiteX337" fmla="*/ 1043168 w 9559421"/>
                <a:gd name="connsiteY337" fmla="*/ 1868533 h 4801077"/>
                <a:gd name="connsiteX338" fmla="*/ 1124975 w 9559421"/>
                <a:gd name="connsiteY338" fmla="*/ 1766926 h 4801077"/>
                <a:gd name="connsiteX339" fmla="*/ 1129665 w 9559421"/>
                <a:gd name="connsiteY339" fmla="*/ 1750773 h 4801077"/>
                <a:gd name="connsiteX340" fmla="*/ 1122370 w 9559421"/>
                <a:gd name="connsiteY340" fmla="*/ 1735662 h 4801077"/>
                <a:gd name="connsiteX341" fmla="*/ 883202 w 9559421"/>
                <a:gd name="connsiteY341" fmla="*/ 2048821 h 4801077"/>
                <a:gd name="connsiteX342" fmla="*/ 852980 w 9559421"/>
                <a:gd name="connsiteY342" fmla="*/ 2054032 h 4801077"/>
                <a:gd name="connsiteX343" fmla="*/ 849333 w 9559421"/>
                <a:gd name="connsiteY343" fmla="*/ 2070185 h 4801077"/>
                <a:gd name="connsiteX344" fmla="*/ 858191 w 9559421"/>
                <a:gd name="connsiteY344" fmla="*/ 2084774 h 4801077"/>
                <a:gd name="connsiteX345" fmla="*/ 870696 w 9559421"/>
                <a:gd name="connsiteY345" fmla="*/ 2088943 h 4801077"/>
                <a:gd name="connsiteX346" fmla="*/ 888412 w 9559421"/>
                <a:gd name="connsiteY346" fmla="*/ 2079564 h 4801077"/>
                <a:gd name="connsiteX347" fmla="*/ 883202 w 9559421"/>
                <a:gd name="connsiteY347" fmla="*/ 2048821 h 4801077"/>
                <a:gd name="connsiteX348" fmla="*/ 8781475 w 9559421"/>
                <a:gd name="connsiteY348" fmla="*/ 2165018 h 4801077"/>
                <a:gd name="connsiteX349" fmla="*/ 8708005 w 9559421"/>
                <a:gd name="connsiteY349" fmla="*/ 2055595 h 4801077"/>
                <a:gd name="connsiteX350" fmla="*/ 8631409 w 9559421"/>
                <a:gd name="connsiteY350" fmla="*/ 1948777 h 4801077"/>
                <a:gd name="connsiteX351" fmla="*/ 8601187 w 9559421"/>
                <a:gd name="connsiteY351" fmla="*/ 1944608 h 4801077"/>
                <a:gd name="connsiteX352" fmla="*/ 8592329 w 9559421"/>
                <a:gd name="connsiteY352" fmla="*/ 1958677 h 4801077"/>
                <a:gd name="connsiteX353" fmla="*/ 8596498 w 9559421"/>
                <a:gd name="connsiteY353" fmla="*/ 1974830 h 4801077"/>
                <a:gd name="connsiteX354" fmla="*/ 8672052 w 9559421"/>
                <a:gd name="connsiteY354" fmla="*/ 2081127 h 4801077"/>
                <a:gd name="connsiteX355" fmla="*/ 8744479 w 9559421"/>
                <a:gd name="connsiteY355" fmla="*/ 2188987 h 4801077"/>
                <a:gd name="connsiteX356" fmla="*/ 8762717 w 9559421"/>
                <a:gd name="connsiteY356" fmla="*/ 2198887 h 4801077"/>
                <a:gd name="connsiteX357" fmla="*/ 8774701 w 9559421"/>
                <a:gd name="connsiteY357" fmla="*/ 2195240 h 4801077"/>
                <a:gd name="connsiteX358" fmla="*/ 8784081 w 9559421"/>
                <a:gd name="connsiteY358" fmla="*/ 2181171 h 4801077"/>
                <a:gd name="connsiteX359" fmla="*/ 8781475 w 9559421"/>
                <a:gd name="connsiteY359" fmla="*/ 2165018 h 4801077"/>
                <a:gd name="connsiteX360" fmla="*/ 8851819 w 9559421"/>
                <a:gd name="connsiteY360" fmla="*/ 2275483 h 4801077"/>
                <a:gd name="connsiteX361" fmla="*/ 8847650 w 9559421"/>
                <a:gd name="connsiteY361" fmla="*/ 2268710 h 4801077"/>
                <a:gd name="connsiteX362" fmla="*/ 8847650 w 9559421"/>
                <a:gd name="connsiteY362" fmla="*/ 2270273 h 4801077"/>
                <a:gd name="connsiteX363" fmla="*/ 8821597 w 9559421"/>
                <a:gd name="connsiteY363" fmla="*/ 2267668 h 4801077"/>
                <a:gd name="connsiteX364" fmla="*/ 8812218 w 9559421"/>
                <a:gd name="connsiteY364" fmla="*/ 2281215 h 4801077"/>
                <a:gd name="connsiteX365" fmla="*/ 8814302 w 9559421"/>
                <a:gd name="connsiteY365" fmla="*/ 2297368 h 4801077"/>
                <a:gd name="connsiteX366" fmla="*/ 8814823 w 9559421"/>
                <a:gd name="connsiteY366" fmla="*/ 2297889 h 4801077"/>
                <a:gd name="connsiteX367" fmla="*/ 8833582 w 9559421"/>
                <a:gd name="connsiteY367" fmla="*/ 2308311 h 4801077"/>
                <a:gd name="connsiteX368" fmla="*/ 8845045 w 9559421"/>
                <a:gd name="connsiteY368" fmla="*/ 2305184 h 4801077"/>
                <a:gd name="connsiteX369" fmla="*/ 8851819 w 9559421"/>
                <a:gd name="connsiteY369" fmla="*/ 2275483 h 4801077"/>
                <a:gd name="connsiteX370" fmla="*/ 809732 w 9559421"/>
                <a:gd name="connsiteY370" fmla="*/ 2156681 h 4801077"/>
                <a:gd name="connsiteX371" fmla="*/ 779510 w 9559421"/>
                <a:gd name="connsiteY371" fmla="*/ 2162934 h 4801077"/>
                <a:gd name="connsiteX372" fmla="*/ 709167 w 9559421"/>
                <a:gd name="connsiteY372" fmla="*/ 2274442 h 4801077"/>
                <a:gd name="connsiteX373" fmla="*/ 641429 w 9559421"/>
                <a:gd name="connsiteY373" fmla="*/ 2387512 h 4801077"/>
                <a:gd name="connsiteX374" fmla="*/ 639344 w 9559421"/>
                <a:gd name="connsiteY374" fmla="*/ 2404186 h 4801077"/>
                <a:gd name="connsiteX375" fmla="*/ 649245 w 9559421"/>
                <a:gd name="connsiteY375" fmla="*/ 2417734 h 4801077"/>
                <a:gd name="connsiteX376" fmla="*/ 660187 w 9559421"/>
                <a:gd name="connsiteY376" fmla="*/ 2420339 h 4801077"/>
                <a:gd name="connsiteX377" fmla="*/ 679466 w 9559421"/>
                <a:gd name="connsiteY377" fmla="*/ 2409397 h 4801077"/>
                <a:gd name="connsiteX378" fmla="*/ 746683 w 9559421"/>
                <a:gd name="connsiteY378" fmla="*/ 2297368 h 4801077"/>
                <a:gd name="connsiteX379" fmla="*/ 816506 w 9559421"/>
                <a:gd name="connsiteY379" fmla="*/ 2187424 h 4801077"/>
                <a:gd name="connsiteX380" fmla="*/ 809732 w 9559421"/>
                <a:gd name="connsiteY380" fmla="*/ 2156681 h 4801077"/>
                <a:gd name="connsiteX381" fmla="*/ 605996 w 9559421"/>
                <a:gd name="connsiteY381" fmla="*/ 2494330 h 4801077"/>
                <a:gd name="connsiteX382" fmla="*/ 576296 w 9559421"/>
                <a:gd name="connsiteY382" fmla="*/ 2503188 h 4801077"/>
                <a:gd name="connsiteX383" fmla="*/ 574733 w 9559421"/>
                <a:gd name="connsiteY383" fmla="*/ 2519862 h 4801077"/>
                <a:gd name="connsiteX384" fmla="*/ 585154 w 9559421"/>
                <a:gd name="connsiteY384" fmla="*/ 2532889 h 4801077"/>
                <a:gd name="connsiteX385" fmla="*/ 595575 w 9559421"/>
                <a:gd name="connsiteY385" fmla="*/ 2535494 h 4801077"/>
                <a:gd name="connsiteX386" fmla="*/ 614854 w 9559421"/>
                <a:gd name="connsiteY386" fmla="*/ 2523510 h 4801077"/>
                <a:gd name="connsiteX387" fmla="*/ 605996 w 9559421"/>
                <a:gd name="connsiteY387" fmla="*/ 2494330 h 4801077"/>
                <a:gd name="connsiteX388" fmla="*/ 9044612 w 9559421"/>
                <a:gd name="connsiteY388" fmla="*/ 2619385 h 4801077"/>
                <a:gd name="connsiteX389" fmla="*/ 8984169 w 9559421"/>
                <a:gd name="connsiteY389" fmla="*/ 2504230 h 4801077"/>
                <a:gd name="connsiteX390" fmla="*/ 8983648 w 9559421"/>
                <a:gd name="connsiteY390" fmla="*/ 2502667 h 4801077"/>
                <a:gd name="connsiteX391" fmla="*/ 8919036 w 9559421"/>
                <a:gd name="connsiteY391" fmla="*/ 2388033 h 4801077"/>
                <a:gd name="connsiteX392" fmla="*/ 8889335 w 9559421"/>
                <a:gd name="connsiteY392" fmla="*/ 2380217 h 4801077"/>
                <a:gd name="connsiteX393" fmla="*/ 8880998 w 9559421"/>
                <a:gd name="connsiteY393" fmla="*/ 2409918 h 4801077"/>
                <a:gd name="connsiteX394" fmla="*/ 8945089 w 9559421"/>
                <a:gd name="connsiteY394" fmla="*/ 2523510 h 4801077"/>
                <a:gd name="connsiteX395" fmla="*/ 9005532 w 9559421"/>
                <a:gd name="connsiteY395" fmla="*/ 2638665 h 4801077"/>
                <a:gd name="connsiteX396" fmla="*/ 9025332 w 9559421"/>
                <a:gd name="connsiteY396" fmla="*/ 2650649 h 4801077"/>
                <a:gd name="connsiteX397" fmla="*/ 9034712 w 9559421"/>
                <a:gd name="connsiteY397" fmla="*/ 2648565 h 4801077"/>
                <a:gd name="connsiteX398" fmla="*/ 9044612 w 9559421"/>
                <a:gd name="connsiteY398" fmla="*/ 2619385 h 4801077"/>
                <a:gd name="connsiteX399" fmla="*/ 9102450 w 9559421"/>
                <a:gd name="connsiteY399" fmla="*/ 2737146 h 4801077"/>
                <a:gd name="connsiteX400" fmla="*/ 9073271 w 9559421"/>
                <a:gd name="connsiteY400" fmla="*/ 2726724 h 4801077"/>
                <a:gd name="connsiteX401" fmla="*/ 9062328 w 9559421"/>
                <a:gd name="connsiteY401" fmla="*/ 2738709 h 4801077"/>
                <a:gd name="connsiteX402" fmla="*/ 9062849 w 9559421"/>
                <a:gd name="connsiteY402" fmla="*/ 2755904 h 4801077"/>
                <a:gd name="connsiteX403" fmla="*/ 9063891 w 9559421"/>
                <a:gd name="connsiteY403" fmla="*/ 2757467 h 4801077"/>
                <a:gd name="connsiteX404" fmla="*/ 9083170 w 9559421"/>
                <a:gd name="connsiteY404" fmla="*/ 2768410 h 4801077"/>
                <a:gd name="connsiteX405" fmla="*/ 9092550 w 9559421"/>
                <a:gd name="connsiteY405" fmla="*/ 2766325 h 4801077"/>
                <a:gd name="connsiteX406" fmla="*/ 9102450 w 9559421"/>
                <a:gd name="connsiteY406" fmla="*/ 2737146 h 4801077"/>
                <a:gd name="connsiteX407" fmla="*/ 544511 w 9559421"/>
                <a:gd name="connsiteY407" fmla="*/ 2610006 h 4801077"/>
                <a:gd name="connsiteX408" fmla="*/ 515331 w 9559421"/>
                <a:gd name="connsiteY408" fmla="*/ 2619385 h 4801077"/>
                <a:gd name="connsiteX409" fmla="*/ 456972 w 9559421"/>
                <a:gd name="connsiteY409" fmla="*/ 2738188 h 4801077"/>
                <a:gd name="connsiteX410" fmla="*/ 402261 w 9559421"/>
                <a:gd name="connsiteY410" fmla="*/ 2858032 h 4801077"/>
                <a:gd name="connsiteX411" fmla="*/ 413724 w 9559421"/>
                <a:gd name="connsiteY411" fmla="*/ 2886691 h 4801077"/>
                <a:gd name="connsiteX412" fmla="*/ 422582 w 9559421"/>
                <a:gd name="connsiteY412" fmla="*/ 2888254 h 4801077"/>
                <a:gd name="connsiteX413" fmla="*/ 442383 w 9559421"/>
                <a:gd name="connsiteY413" fmla="*/ 2875227 h 4801077"/>
                <a:gd name="connsiteX414" fmla="*/ 496573 w 9559421"/>
                <a:gd name="connsiteY414" fmla="*/ 2755904 h 4801077"/>
                <a:gd name="connsiteX415" fmla="*/ 553890 w 9559421"/>
                <a:gd name="connsiteY415" fmla="*/ 2638665 h 4801077"/>
                <a:gd name="connsiteX416" fmla="*/ 544511 w 9559421"/>
                <a:gd name="connsiteY416" fmla="*/ 2610006 h 4801077"/>
                <a:gd name="connsiteX417" fmla="*/ 378813 w 9559421"/>
                <a:gd name="connsiteY417" fmla="*/ 2967977 h 4801077"/>
                <a:gd name="connsiteX418" fmla="*/ 352239 w 9559421"/>
                <a:gd name="connsiteY418" fmla="*/ 2977356 h 4801077"/>
                <a:gd name="connsiteX419" fmla="*/ 351718 w 9559421"/>
                <a:gd name="connsiteY419" fmla="*/ 2976835 h 4801077"/>
                <a:gd name="connsiteX420" fmla="*/ 350154 w 9559421"/>
                <a:gd name="connsiteY420" fmla="*/ 2979961 h 4801077"/>
                <a:gd name="connsiteX421" fmla="*/ 362139 w 9559421"/>
                <a:gd name="connsiteY421" fmla="*/ 3008620 h 4801077"/>
                <a:gd name="connsiteX422" fmla="*/ 369955 w 9559421"/>
                <a:gd name="connsiteY422" fmla="*/ 3010183 h 4801077"/>
                <a:gd name="connsiteX423" fmla="*/ 390276 w 9559421"/>
                <a:gd name="connsiteY423" fmla="*/ 2996635 h 4801077"/>
                <a:gd name="connsiteX424" fmla="*/ 378813 w 9559421"/>
                <a:gd name="connsiteY424" fmla="*/ 2967977 h 4801077"/>
                <a:gd name="connsiteX425" fmla="*/ 9256164 w 9559421"/>
                <a:gd name="connsiteY425" fmla="*/ 3100327 h 4801077"/>
                <a:gd name="connsiteX426" fmla="*/ 9208226 w 9559421"/>
                <a:gd name="connsiteY426" fmla="*/ 2977877 h 4801077"/>
                <a:gd name="connsiteX427" fmla="*/ 9156640 w 9559421"/>
                <a:gd name="connsiteY427" fmla="*/ 2856990 h 4801077"/>
                <a:gd name="connsiteX428" fmla="*/ 9127982 w 9559421"/>
                <a:gd name="connsiteY428" fmla="*/ 2846048 h 4801077"/>
                <a:gd name="connsiteX429" fmla="*/ 9117040 w 9559421"/>
                <a:gd name="connsiteY429" fmla="*/ 2874706 h 4801077"/>
                <a:gd name="connsiteX430" fmla="*/ 9167583 w 9559421"/>
                <a:gd name="connsiteY430" fmla="*/ 2994551 h 4801077"/>
                <a:gd name="connsiteX431" fmla="*/ 9215521 w 9559421"/>
                <a:gd name="connsiteY431" fmla="*/ 3115959 h 4801077"/>
                <a:gd name="connsiteX432" fmla="*/ 9235321 w 9559421"/>
                <a:gd name="connsiteY432" fmla="*/ 3130549 h 4801077"/>
                <a:gd name="connsiteX433" fmla="*/ 9243137 w 9559421"/>
                <a:gd name="connsiteY433" fmla="*/ 3128985 h 4801077"/>
                <a:gd name="connsiteX434" fmla="*/ 9256164 w 9559421"/>
                <a:gd name="connsiteY434" fmla="*/ 3100327 h 4801077"/>
                <a:gd name="connsiteX435" fmla="*/ 9300975 w 9559421"/>
                <a:gd name="connsiteY435" fmla="*/ 3224340 h 4801077"/>
                <a:gd name="connsiteX436" fmla="*/ 9273359 w 9559421"/>
                <a:gd name="connsiteY436" fmla="*/ 3210792 h 4801077"/>
                <a:gd name="connsiteX437" fmla="*/ 9260853 w 9559421"/>
                <a:gd name="connsiteY437" fmla="*/ 3221735 h 4801077"/>
                <a:gd name="connsiteX438" fmla="*/ 9259811 w 9559421"/>
                <a:gd name="connsiteY438" fmla="*/ 3238930 h 4801077"/>
                <a:gd name="connsiteX439" fmla="*/ 9280132 w 9559421"/>
                <a:gd name="connsiteY439" fmla="*/ 3253519 h 4801077"/>
                <a:gd name="connsiteX440" fmla="*/ 9286906 w 9559421"/>
                <a:gd name="connsiteY440" fmla="*/ 3252477 h 4801077"/>
                <a:gd name="connsiteX441" fmla="*/ 9299412 w 9559421"/>
                <a:gd name="connsiteY441" fmla="*/ 3241014 h 4801077"/>
                <a:gd name="connsiteX442" fmla="*/ 9300975 w 9559421"/>
                <a:gd name="connsiteY442" fmla="*/ 3224340 h 4801077"/>
                <a:gd name="connsiteX443" fmla="*/ 342859 w 9559421"/>
                <a:gd name="connsiteY443" fmla="*/ 3101369 h 4801077"/>
                <a:gd name="connsiteX444" fmla="*/ 330875 w 9559421"/>
                <a:gd name="connsiteY444" fmla="*/ 3089905 h 4801077"/>
                <a:gd name="connsiteX445" fmla="*/ 303259 w 9559421"/>
                <a:gd name="connsiteY445" fmla="*/ 3102411 h 4801077"/>
                <a:gd name="connsiteX446" fmla="*/ 258447 w 9559421"/>
                <a:gd name="connsiteY446" fmla="*/ 3226945 h 4801077"/>
                <a:gd name="connsiteX447" fmla="*/ 257926 w 9559421"/>
                <a:gd name="connsiteY447" fmla="*/ 3227987 h 4801077"/>
                <a:gd name="connsiteX448" fmla="*/ 217283 w 9559421"/>
                <a:gd name="connsiteY448" fmla="*/ 3352521 h 4801077"/>
                <a:gd name="connsiteX449" fmla="*/ 218846 w 9559421"/>
                <a:gd name="connsiteY449" fmla="*/ 3369716 h 4801077"/>
                <a:gd name="connsiteX450" fmla="*/ 231352 w 9559421"/>
                <a:gd name="connsiteY450" fmla="*/ 3380138 h 4801077"/>
                <a:gd name="connsiteX451" fmla="*/ 238126 w 9559421"/>
                <a:gd name="connsiteY451" fmla="*/ 3381180 h 4801077"/>
                <a:gd name="connsiteX452" fmla="*/ 254800 w 9559421"/>
                <a:gd name="connsiteY452" fmla="*/ 3373885 h 4801077"/>
                <a:gd name="connsiteX453" fmla="*/ 254800 w 9559421"/>
                <a:gd name="connsiteY453" fmla="*/ 3380138 h 4801077"/>
                <a:gd name="connsiteX454" fmla="*/ 258968 w 9559421"/>
                <a:gd name="connsiteY454" fmla="*/ 3366069 h 4801077"/>
                <a:gd name="connsiteX455" fmla="*/ 299611 w 9559421"/>
                <a:gd name="connsiteY455" fmla="*/ 3241535 h 4801077"/>
                <a:gd name="connsiteX456" fmla="*/ 343381 w 9559421"/>
                <a:gd name="connsiteY456" fmla="*/ 3118564 h 4801077"/>
                <a:gd name="connsiteX457" fmla="*/ 342859 w 9559421"/>
                <a:gd name="connsiteY457" fmla="*/ 3101369 h 4801077"/>
                <a:gd name="connsiteX458" fmla="*/ 219368 w 9559421"/>
                <a:gd name="connsiteY458" fmla="*/ 3474450 h 4801077"/>
                <a:gd name="connsiteX459" fmla="*/ 206341 w 9559421"/>
                <a:gd name="connsiteY459" fmla="*/ 3464029 h 4801077"/>
                <a:gd name="connsiteX460" fmla="*/ 179246 w 9559421"/>
                <a:gd name="connsiteY460" fmla="*/ 3479140 h 4801077"/>
                <a:gd name="connsiteX461" fmla="*/ 181330 w 9559421"/>
                <a:gd name="connsiteY461" fmla="*/ 3495814 h 4801077"/>
                <a:gd name="connsiteX462" fmla="*/ 194357 w 9559421"/>
                <a:gd name="connsiteY462" fmla="*/ 3506235 h 4801077"/>
                <a:gd name="connsiteX463" fmla="*/ 200088 w 9559421"/>
                <a:gd name="connsiteY463" fmla="*/ 3506756 h 4801077"/>
                <a:gd name="connsiteX464" fmla="*/ 221452 w 9559421"/>
                <a:gd name="connsiteY464" fmla="*/ 3491124 h 4801077"/>
                <a:gd name="connsiteX465" fmla="*/ 221973 w 9559421"/>
                <a:gd name="connsiteY465" fmla="*/ 3487998 h 4801077"/>
                <a:gd name="connsiteX466" fmla="*/ 219368 w 9559421"/>
                <a:gd name="connsiteY466" fmla="*/ 3474450 h 4801077"/>
                <a:gd name="connsiteX467" fmla="*/ 9413525 w 9559421"/>
                <a:gd name="connsiteY467" fmla="*/ 3602632 h 4801077"/>
                <a:gd name="connsiteX468" fmla="*/ 9379655 w 9559421"/>
                <a:gd name="connsiteY468" fmla="*/ 3475492 h 4801077"/>
                <a:gd name="connsiteX469" fmla="*/ 9341618 w 9559421"/>
                <a:gd name="connsiteY469" fmla="*/ 3349395 h 4801077"/>
                <a:gd name="connsiteX470" fmla="*/ 9314002 w 9559421"/>
                <a:gd name="connsiteY470" fmla="*/ 3334805 h 4801077"/>
                <a:gd name="connsiteX471" fmla="*/ 9301496 w 9559421"/>
                <a:gd name="connsiteY471" fmla="*/ 3345226 h 4801077"/>
                <a:gd name="connsiteX472" fmla="*/ 9299933 w 9559421"/>
                <a:gd name="connsiteY472" fmla="*/ 3361900 h 4801077"/>
                <a:gd name="connsiteX473" fmla="*/ 9336929 w 9559421"/>
                <a:gd name="connsiteY473" fmla="*/ 3486956 h 4801077"/>
                <a:gd name="connsiteX474" fmla="*/ 9370797 w 9559421"/>
                <a:gd name="connsiteY474" fmla="*/ 3613053 h 4801077"/>
                <a:gd name="connsiteX475" fmla="*/ 9391640 w 9559421"/>
                <a:gd name="connsiteY475" fmla="*/ 3629206 h 4801077"/>
                <a:gd name="connsiteX476" fmla="*/ 9397371 w 9559421"/>
                <a:gd name="connsiteY476" fmla="*/ 3628685 h 4801077"/>
                <a:gd name="connsiteX477" fmla="*/ 9413525 w 9559421"/>
                <a:gd name="connsiteY477" fmla="*/ 3602632 h 4801077"/>
                <a:gd name="connsiteX478" fmla="*/ 9443747 w 9559421"/>
                <a:gd name="connsiteY478" fmla="*/ 3730292 h 4801077"/>
                <a:gd name="connsiteX479" fmla="*/ 9439578 w 9559421"/>
                <a:gd name="connsiteY479" fmla="*/ 3711013 h 4801077"/>
                <a:gd name="connsiteX480" fmla="*/ 9439578 w 9559421"/>
                <a:gd name="connsiteY480" fmla="*/ 3721434 h 4801077"/>
                <a:gd name="connsiteX481" fmla="*/ 9417694 w 9559421"/>
                <a:gd name="connsiteY481" fmla="*/ 3714139 h 4801077"/>
                <a:gd name="connsiteX482" fmla="*/ 9404145 w 9559421"/>
                <a:gd name="connsiteY482" fmla="*/ 3723518 h 4801077"/>
                <a:gd name="connsiteX483" fmla="*/ 9401019 w 9559421"/>
                <a:gd name="connsiteY483" fmla="*/ 3737066 h 4801077"/>
                <a:gd name="connsiteX484" fmla="*/ 9400498 w 9559421"/>
                <a:gd name="connsiteY484" fmla="*/ 3737066 h 4801077"/>
                <a:gd name="connsiteX485" fmla="*/ 9401019 w 9559421"/>
                <a:gd name="connsiteY485" fmla="*/ 3739671 h 4801077"/>
                <a:gd name="connsiteX486" fmla="*/ 9422383 w 9559421"/>
                <a:gd name="connsiteY486" fmla="*/ 3756866 h 4801077"/>
                <a:gd name="connsiteX487" fmla="*/ 9427072 w 9559421"/>
                <a:gd name="connsiteY487" fmla="*/ 3756345 h 4801077"/>
                <a:gd name="connsiteX488" fmla="*/ 9443747 w 9559421"/>
                <a:gd name="connsiteY488" fmla="*/ 3730292 h 4801077"/>
                <a:gd name="connsiteX489" fmla="*/ 185498 w 9559421"/>
                <a:gd name="connsiteY489" fmla="*/ 3600547 h 4801077"/>
                <a:gd name="connsiteX490" fmla="*/ 171951 w 9559421"/>
                <a:gd name="connsiteY490" fmla="*/ 3590648 h 4801077"/>
                <a:gd name="connsiteX491" fmla="*/ 145377 w 9559421"/>
                <a:gd name="connsiteY491" fmla="*/ 3606279 h 4801077"/>
                <a:gd name="connsiteX492" fmla="*/ 115155 w 9559421"/>
                <a:gd name="connsiteY492" fmla="*/ 3734461 h 4801077"/>
                <a:gd name="connsiteX493" fmla="*/ 88060 w 9559421"/>
                <a:gd name="connsiteY493" fmla="*/ 3863163 h 4801077"/>
                <a:gd name="connsiteX494" fmla="*/ 91707 w 9559421"/>
                <a:gd name="connsiteY494" fmla="*/ 3879316 h 4801077"/>
                <a:gd name="connsiteX495" fmla="*/ 105776 w 9559421"/>
                <a:gd name="connsiteY495" fmla="*/ 3888695 h 4801077"/>
                <a:gd name="connsiteX496" fmla="*/ 109944 w 9559421"/>
                <a:gd name="connsiteY496" fmla="*/ 3889217 h 4801077"/>
                <a:gd name="connsiteX497" fmla="*/ 131308 w 9559421"/>
                <a:gd name="connsiteY497" fmla="*/ 3871501 h 4801077"/>
                <a:gd name="connsiteX498" fmla="*/ 158403 w 9559421"/>
                <a:gd name="connsiteY498" fmla="*/ 3743840 h 4801077"/>
                <a:gd name="connsiteX499" fmla="*/ 188625 w 9559421"/>
                <a:gd name="connsiteY499" fmla="*/ 3617221 h 4801077"/>
                <a:gd name="connsiteX500" fmla="*/ 185498 w 9559421"/>
                <a:gd name="connsiteY500" fmla="*/ 3600547 h 4801077"/>
                <a:gd name="connsiteX501" fmla="*/ 104213 w 9559421"/>
                <a:gd name="connsiteY501" fmla="*/ 3983529 h 4801077"/>
                <a:gd name="connsiteX502" fmla="*/ 89623 w 9559421"/>
                <a:gd name="connsiteY502" fmla="*/ 3974671 h 4801077"/>
                <a:gd name="connsiteX503" fmla="*/ 64612 w 9559421"/>
                <a:gd name="connsiteY503" fmla="*/ 3992387 h 4801077"/>
                <a:gd name="connsiteX504" fmla="*/ 68259 w 9559421"/>
                <a:gd name="connsiteY504" fmla="*/ 4008540 h 4801077"/>
                <a:gd name="connsiteX505" fmla="*/ 82849 w 9559421"/>
                <a:gd name="connsiteY505" fmla="*/ 4017398 h 4801077"/>
                <a:gd name="connsiteX506" fmla="*/ 86496 w 9559421"/>
                <a:gd name="connsiteY506" fmla="*/ 4017919 h 4801077"/>
                <a:gd name="connsiteX507" fmla="*/ 107860 w 9559421"/>
                <a:gd name="connsiteY507" fmla="*/ 3999682 h 4801077"/>
                <a:gd name="connsiteX508" fmla="*/ 108381 w 9559421"/>
                <a:gd name="connsiteY508" fmla="*/ 3997077 h 4801077"/>
                <a:gd name="connsiteX509" fmla="*/ 104213 w 9559421"/>
                <a:gd name="connsiteY509" fmla="*/ 3983529 h 4801077"/>
                <a:gd name="connsiteX510" fmla="*/ 9494289 w 9559421"/>
                <a:gd name="connsiteY510" fmla="*/ 3989261 h 4801077"/>
                <a:gd name="connsiteX511" fmla="*/ 9470841 w 9559421"/>
                <a:gd name="connsiteY511" fmla="*/ 3859516 h 4801077"/>
                <a:gd name="connsiteX512" fmla="*/ 9445310 w 9559421"/>
                <a:gd name="connsiteY512" fmla="*/ 3842321 h 4801077"/>
                <a:gd name="connsiteX513" fmla="*/ 9431762 w 9559421"/>
                <a:gd name="connsiteY513" fmla="*/ 3851700 h 4801077"/>
                <a:gd name="connsiteX514" fmla="*/ 9427593 w 9559421"/>
                <a:gd name="connsiteY514" fmla="*/ 3863685 h 4801077"/>
                <a:gd name="connsiteX515" fmla="*/ 9427593 w 9559421"/>
                <a:gd name="connsiteY515" fmla="*/ 3865248 h 4801077"/>
                <a:gd name="connsiteX516" fmla="*/ 9428115 w 9559421"/>
                <a:gd name="connsiteY516" fmla="*/ 3867853 h 4801077"/>
                <a:gd name="connsiteX517" fmla="*/ 9451042 w 9559421"/>
                <a:gd name="connsiteY517" fmla="*/ 3993950 h 4801077"/>
                <a:gd name="connsiteX518" fmla="*/ 9451042 w 9559421"/>
                <a:gd name="connsiteY518" fmla="*/ 3996035 h 4801077"/>
                <a:gd name="connsiteX519" fmla="*/ 9451562 w 9559421"/>
                <a:gd name="connsiteY519" fmla="*/ 3997077 h 4801077"/>
                <a:gd name="connsiteX520" fmla="*/ 9470841 w 9559421"/>
                <a:gd name="connsiteY520" fmla="*/ 4125258 h 4801077"/>
                <a:gd name="connsiteX521" fmla="*/ 9492726 w 9559421"/>
                <a:gd name="connsiteY521" fmla="*/ 4144017 h 4801077"/>
                <a:gd name="connsiteX522" fmla="*/ 9495853 w 9559421"/>
                <a:gd name="connsiteY522" fmla="*/ 4143495 h 4801077"/>
                <a:gd name="connsiteX523" fmla="*/ 9514090 w 9559421"/>
                <a:gd name="connsiteY523" fmla="*/ 4119006 h 4801077"/>
                <a:gd name="connsiteX524" fmla="*/ 9494289 w 9559421"/>
                <a:gd name="connsiteY524" fmla="*/ 3989261 h 4801077"/>
                <a:gd name="connsiteX525" fmla="*/ 9506274 w 9559421"/>
                <a:gd name="connsiteY525" fmla="*/ 4231034 h 4801077"/>
                <a:gd name="connsiteX526" fmla="*/ 9486994 w 9559421"/>
                <a:gd name="connsiteY526" fmla="*/ 4255003 h 4801077"/>
                <a:gd name="connsiteX527" fmla="*/ 9508880 w 9559421"/>
                <a:gd name="connsiteY527" fmla="*/ 4274804 h 4801077"/>
                <a:gd name="connsiteX528" fmla="*/ 9510963 w 9559421"/>
                <a:gd name="connsiteY528" fmla="*/ 4274804 h 4801077"/>
                <a:gd name="connsiteX529" fmla="*/ 9530764 w 9559421"/>
                <a:gd name="connsiteY529" fmla="*/ 4250314 h 4801077"/>
                <a:gd name="connsiteX530" fmla="*/ 9506274 w 9559421"/>
                <a:gd name="connsiteY530" fmla="*/ 4231034 h 4801077"/>
                <a:gd name="connsiteX531" fmla="*/ 69822 w 9559421"/>
                <a:gd name="connsiteY531" fmla="*/ 4104416 h 4801077"/>
                <a:gd name="connsiteX532" fmla="*/ 44811 w 9559421"/>
                <a:gd name="connsiteY532" fmla="*/ 4122653 h 4801077"/>
                <a:gd name="connsiteX533" fmla="*/ 28658 w 9559421"/>
                <a:gd name="connsiteY533" fmla="*/ 4253440 h 4801077"/>
                <a:gd name="connsiteX534" fmla="*/ 16674 w 9559421"/>
                <a:gd name="connsiteY534" fmla="*/ 4384227 h 4801077"/>
                <a:gd name="connsiteX535" fmla="*/ 21364 w 9559421"/>
                <a:gd name="connsiteY535" fmla="*/ 4399859 h 4801077"/>
                <a:gd name="connsiteX536" fmla="*/ 35953 w 9559421"/>
                <a:gd name="connsiteY536" fmla="*/ 4407675 h 4801077"/>
                <a:gd name="connsiteX537" fmla="*/ 37517 w 9559421"/>
                <a:gd name="connsiteY537" fmla="*/ 4407675 h 4801077"/>
                <a:gd name="connsiteX538" fmla="*/ 59401 w 9559421"/>
                <a:gd name="connsiteY538" fmla="*/ 4387874 h 4801077"/>
                <a:gd name="connsiteX539" fmla="*/ 71907 w 9559421"/>
                <a:gd name="connsiteY539" fmla="*/ 4258130 h 4801077"/>
                <a:gd name="connsiteX540" fmla="*/ 87539 w 9559421"/>
                <a:gd name="connsiteY540" fmla="*/ 4128385 h 4801077"/>
                <a:gd name="connsiteX541" fmla="*/ 69822 w 9559421"/>
                <a:gd name="connsiteY541" fmla="*/ 4104416 h 4801077"/>
                <a:gd name="connsiteX542" fmla="*/ 30222 w 9559421"/>
                <a:gd name="connsiteY542" fmla="*/ 4495734 h 4801077"/>
                <a:gd name="connsiteX543" fmla="*/ 7295 w 9559421"/>
                <a:gd name="connsiteY543" fmla="*/ 4516056 h 4801077"/>
                <a:gd name="connsiteX544" fmla="*/ 27616 w 9559421"/>
                <a:gd name="connsiteY544" fmla="*/ 4538983 h 4801077"/>
                <a:gd name="connsiteX545" fmla="*/ 29180 w 9559421"/>
                <a:gd name="connsiteY545" fmla="*/ 4538983 h 4801077"/>
                <a:gd name="connsiteX546" fmla="*/ 51064 w 9559421"/>
                <a:gd name="connsiteY546" fmla="*/ 4518140 h 4801077"/>
                <a:gd name="connsiteX547" fmla="*/ 30222 w 9559421"/>
                <a:gd name="connsiteY547" fmla="*/ 4495734 h 4801077"/>
                <a:gd name="connsiteX548" fmla="*/ 9552127 w 9559421"/>
                <a:gd name="connsiteY548" fmla="*/ 4512930 h 4801077"/>
                <a:gd name="connsiteX549" fmla="*/ 9542748 w 9559421"/>
                <a:gd name="connsiteY549" fmla="*/ 4381621 h 4801077"/>
                <a:gd name="connsiteX550" fmla="*/ 9519301 w 9559421"/>
                <a:gd name="connsiteY550" fmla="*/ 4361821 h 4801077"/>
                <a:gd name="connsiteX551" fmla="*/ 9504711 w 9559421"/>
                <a:gd name="connsiteY551" fmla="*/ 4369116 h 4801077"/>
                <a:gd name="connsiteX552" fmla="*/ 9499500 w 9559421"/>
                <a:gd name="connsiteY552" fmla="*/ 4385269 h 4801077"/>
                <a:gd name="connsiteX553" fmla="*/ 9508880 w 9559421"/>
                <a:gd name="connsiteY553" fmla="*/ 4515535 h 4801077"/>
                <a:gd name="connsiteX554" fmla="*/ 9514090 w 9559421"/>
                <a:gd name="connsiteY554" fmla="*/ 4645801 h 4801077"/>
                <a:gd name="connsiteX555" fmla="*/ 9535974 w 9559421"/>
                <a:gd name="connsiteY555" fmla="*/ 4666643 h 4801077"/>
                <a:gd name="connsiteX556" fmla="*/ 9537017 w 9559421"/>
                <a:gd name="connsiteY556" fmla="*/ 4666643 h 4801077"/>
                <a:gd name="connsiteX557" fmla="*/ 9557859 w 9559421"/>
                <a:gd name="connsiteY557" fmla="*/ 4644237 h 4801077"/>
                <a:gd name="connsiteX558" fmla="*/ 9552127 w 9559421"/>
                <a:gd name="connsiteY558" fmla="*/ 4512930 h 4801077"/>
                <a:gd name="connsiteX559" fmla="*/ 9537537 w 9559421"/>
                <a:gd name="connsiteY559" fmla="*/ 4754182 h 4801077"/>
                <a:gd name="connsiteX560" fmla="*/ 9515653 w 9559421"/>
                <a:gd name="connsiteY560" fmla="*/ 4776067 h 4801077"/>
                <a:gd name="connsiteX561" fmla="*/ 9515653 w 9559421"/>
                <a:gd name="connsiteY561" fmla="*/ 4777109 h 4801077"/>
                <a:gd name="connsiteX562" fmla="*/ 9537537 w 9559421"/>
                <a:gd name="connsiteY562" fmla="*/ 4797951 h 4801077"/>
                <a:gd name="connsiteX563" fmla="*/ 9559422 w 9559421"/>
                <a:gd name="connsiteY563" fmla="*/ 4778151 h 4801077"/>
                <a:gd name="connsiteX564" fmla="*/ 9559422 w 9559421"/>
                <a:gd name="connsiteY564" fmla="*/ 4776067 h 4801077"/>
                <a:gd name="connsiteX565" fmla="*/ 9537537 w 9559421"/>
                <a:gd name="connsiteY565" fmla="*/ 4754182 h 4801077"/>
                <a:gd name="connsiteX566" fmla="*/ 24490 w 9559421"/>
                <a:gd name="connsiteY566" fmla="*/ 4626521 h 4801077"/>
                <a:gd name="connsiteX567" fmla="*/ 24490 w 9559421"/>
                <a:gd name="connsiteY567" fmla="*/ 4626521 h 4801077"/>
                <a:gd name="connsiteX568" fmla="*/ 2084 w 9559421"/>
                <a:gd name="connsiteY568" fmla="*/ 4647364 h 4801077"/>
                <a:gd name="connsiteX569" fmla="*/ 521 w 9559421"/>
                <a:gd name="connsiteY569" fmla="*/ 4717707 h 4801077"/>
                <a:gd name="connsiteX570" fmla="*/ 0 w 9559421"/>
                <a:gd name="connsiteY570" fmla="*/ 4779193 h 4801077"/>
                <a:gd name="connsiteX571" fmla="*/ 21885 w 9559421"/>
                <a:gd name="connsiteY571" fmla="*/ 4801077 h 4801077"/>
                <a:gd name="connsiteX572" fmla="*/ 43769 w 9559421"/>
                <a:gd name="connsiteY572" fmla="*/ 4779193 h 4801077"/>
                <a:gd name="connsiteX573" fmla="*/ 44290 w 9559421"/>
                <a:gd name="connsiteY573" fmla="*/ 4718229 h 4801077"/>
                <a:gd name="connsiteX574" fmla="*/ 45854 w 9559421"/>
                <a:gd name="connsiteY574" fmla="*/ 4648406 h 4801077"/>
                <a:gd name="connsiteX575" fmla="*/ 24490 w 9559421"/>
                <a:gd name="connsiteY575" fmla="*/ 4626521 h 480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9559421" h="4801077">
                  <a:moveTo>
                    <a:pt x="4924567" y="8337"/>
                  </a:moveTo>
                  <a:cubicBezTo>
                    <a:pt x="4921962" y="5732"/>
                    <a:pt x="4918835" y="3647"/>
                    <a:pt x="4915188" y="2605"/>
                  </a:cubicBezTo>
                  <a:lnTo>
                    <a:pt x="4916751" y="1563"/>
                  </a:lnTo>
                  <a:lnTo>
                    <a:pt x="4909456" y="1042"/>
                  </a:lnTo>
                  <a:cubicBezTo>
                    <a:pt x="4897472" y="1042"/>
                    <a:pt x="4888092" y="10421"/>
                    <a:pt x="4887571" y="22406"/>
                  </a:cubicBezTo>
                  <a:cubicBezTo>
                    <a:pt x="4887051" y="34390"/>
                    <a:pt x="4896950" y="44811"/>
                    <a:pt x="4908414" y="44811"/>
                  </a:cubicBezTo>
                  <a:lnTo>
                    <a:pt x="4909456" y="44811"/>
                  </a:lnTo>
                  <a:cubicBezTo>
                    <a:pt x="4921440" y="44811"/>
                    <a:pt x="4930820" y="35432"/>
                    <a:pt x="4931341" y="23448"/>
                  </a:cubicBezTo>
                  <a:cubicBezTo>
                    <a:pt x="4930820" y="17716"/>
                    <a:pt x="4928735" y="12506"/>
                    <a:pt x="4924567" y="8337"/>
                  </a:cubicBezTo>
                  <a:close/>
                  <a:moveTo>
                    <a:pt x="4778148" y="0"/>
                  </a:moveTo>
                  <a:cubicBezTo>
                    <a:pt x="4735942" y="0"/>
                    <a:pt x="4692173" y="521"/>
                    <a:pt x="4646319" y="1563"/>
                  </a:cubicBezTo>
                  <a:cubicBezTo>
                    <a:pt x="4604634" y="2605"/>
                    <a:pt x="4560344" y="4690"/>
                    <a:pt x="4515012" y="6774"/>
                  </a:cubicBezTo>
                  <a:cubicBezTo>
                    <a:pt x="4508759" y="7295"/>
                    <a:pt x="4503548" y="9900"/>
                    <a:pt x="4499901" y="14069"/>
                  </a:cubicBezTo>
                  <a:cubicBezTo>
                    <a:pt x="4495732" y="18237"/>
                    <a:pt x="4494169" y="23448"/>
                    <a:pt x="4494690" y="29701"/>
                  </a:cubicBezTo>
                  <a:cubicBezTo>
                    <a:pt x="4495211" y="41164"/>
                    <a:pt x="4504590" y="50022"/>
                    <a:pt x="4516054" y="50022"/>
                  </a:cubicBezTo>
                  <a:lnTo>
                    <a:pt x="4517617" y="50022"/>
                  </a:lnTo>
                  <a:cubicBezTo>
                    <a:pt x="4559302" y="47938"/>
                    <a:pt x="4603071" y="45854"/>
                    <a:pt x="4647882" y="44811"/>
                  </a:cubicBezTo>
                  <a:cubicBezTo>
                    <a:pt x="4692694" y="43248"/>
                    <a:pt x="4736463" y="43248"/>
                    <a:pt x="4778148" y="43248"/>
                  </a:cubicBezTo>
                  <a:cubicBezTo>
                    <a:pt x="4790133" y="43248"/>
                    <a:pt x="4800033" y="33348"/>
                    <a:pt x="4800033" y="21364"/>
                  </a:cubicBezTo>
                  <a:cubicBezTo>
                    <a:pt x="4800033" y="9379"/>
                    <a:pt x="4789612" y="0"/>
                    <a:pt x="4778148" y="0"/>
                  </a:cubicBezTo>
                  <a:close/>
                  <a:moveTo>
                    <a:pt x="4383703" y="16153"/>
                  </a:moveTo>
                  <a:lnTo>
                    <a:pt x="4379535" y="16674"/>
                  </a:lnTo>
                  <a:cubicBezTo>
                    <a:pt x="4375367" y="18237"/>
                    <a:pt x="4371198" y="20843"/>
                    <a:pt x="4368593" y="23448"/>
                  </a:cubicBezTo>
                  <a:cubicBezTo>
                    <a:pt x="4364424" y="28137"/>
                    <a:pt x="4362861" y="33869"/>
                    <a:pt x="4363382" y="39601"/>
                  </a:cubicBezTo>
                  <a:cubicBezTo>
                    <a:pt x="4364424" y="51064"/>
                    <a:pt x="4374324" y="58880"/>
                    <a:pt x="4385788" y="59401"/>
                  </a:cubicBezTo>
                  <a:lnTo>
                    <a:pt x="4387351" y="59401"/>
                  </a:lnTo>
                  <a:cubicBezTo>
                    <a:pt x="4399335" y="57838"/>
                    <a:pt x="4408193" y="47417"/>
                    <a:pt x="4407152" y="35953"/>
                  </a:cubicBezTo>
                  <a:cubicBezTo>
                    <a:pt x="4405588" y="23969"/>
                    <a:pt x="4396209" y="15111"/>
                    <a:pt x="4383703" y="16153"/>
                  </a:cubicBezTo>
                  <a:close/>
                  <a:moveTo>
                    <a:pt x="5303380" y="28137"/>
                  </a:moveTo>
                  <a:cubicBezTo>
                    <a:pt x="5257005" y="22927"/>
                    <a:pt x="5214278" y="18758"/>
                    <a:pt x="5172593" y="15632"/>
                  </a:cubicBezTo>
                  <a:cubicBezTo>
                    <a:pt x="5152271" y="14069"/>
                    <a:pt x="5132471" y="12506"/>
                    <a:pt x="5113713" y="11463"/>
                  </a:cubicBezTo>
                  <a:cubicBezTo>
                    <a:pt x="5088702" y="9900"/>
                    <a:pt x="5064733" y="8337"/>
                    <a:pt x="5041285" y="7295"/>
                  </a:cubicBezTo>
                  <a:cubicBezTo>
                    <a:pt x="5027737" y="6774"/>
                    <a:pt x="5018879" y="16153"/>
                    <a:pt x="5018358" y="27616"/>
                  </a:cubicBezTo>
                  <a:cubicBezTo>
                    <a:pt x="5018358" y="33348"/>
                    <a:pt x="5019921" y="39080"/>
                    <a:pt x="5024090" y="43248"/>
                  </a:cubicBezTo>
                  <a:cubicBezTo>
                    <a:pt x="5028259" y="47417"/>
                    <a:pt x="5033469" y="50022"/>
                    <a:pt x="5038680" y="50022"/>
                  </a:cubicBezTo>
                  <a:cubicBezTo>
                    <a:pt x="5084012" y="52627"/>
                    <a:pt x="5127261" y="55754"/>
                    <a:pt x="5168945" y="59401"/>
                  </a:cubicBezTo>
                  <a:cubicBezTo>
                    <a:pt x="5178846" y="60443"/>
                    <a:pt x="5189267" y="60964"/>
                    <a:pt x="5199167" y="62007"/>
                  </a:cubicBezTo>
                  <a:cubicBezTo>
                    <a:pt x="5232515" y="65133"/>
                    <a:pt x="5265863" y="68259"/>
                    <a:pt x="5298169" y="71386"/>
                  </a:cubicBezTo>
                  <a:cubicBezTo>
                    <a:pt x="5299211" y="71386"/>
                    <a:pt x="5299732" y="71907"/>
                    <a:pt x="5300774" y="71907"/>
                  </a:cubicBezTo>
                  <a:cubicBezTo>
                    <a:pt x="5311717" y="71907"/>
                    <a:pt x="5321096" y="63049"/>
                    <a:pt x="5322138" y="52106"/>
                  </a:cubicBezTo>
                  <a:cubicBezTo>
                    <a:pt x="5324222" y="40643"/>
                    <a:pt x="5315364" y="29701"/>
                    <a:pt x="5303380" y="28137"/>
                  </a:cubicBezTo>
                  <a:close/>
                  <a:moveTo>
                    <a:pt x="5448756" y="52627"/>
                  </a:moveTo>
                  <a:cubicBezTo>
                    <a:pt x="5445109" y="47938"/>
                    <a:pt x="5439898" y="45333"/>
                    <a:pt x="5434167" y="44290"/>
                  </a:cubicBezTo>
                  <a:cubicBezTo>
                    <a:pt x="5422182" y="42727"/>
                    <a:pt x="5411240" y="51064"/>
                    <a:pt x="5409156" y="63049"/>
                  </a:cubicBezTo>
                  <a:cubicBezTo>
                    <a:pt x="5407592" y="75033"/>
                    <a:pt x="5415929" y="85454"/>
                    <a:pt x="5427914" y="87539"/>
                  </a:cubicBezTo>
                  <a:lnTo>
                    <a:pt x="5431040" y="87539"/>
                  </a:lnTo>
                  <a:cubicBezTo>
                    <a:pt x="5441982" y="87539"/>
                    <a:pt x="5450841" y="79723"/>
                    <a:pt x="5452404" y="68780"/>
                  </a:cubicBezTo>
                  <a:cubicBezTo>
                    <a:pt x="5453446" y="63049"/>
                    <a:pt x="5452404" y="57317"/>
                    <a:pt x="5448756" y="52627"/>
                  </a:cubicBezTo>
                  <a:close/>
                  <a:moveTo>
                    <a:pt x="4251875" y="28658"/>
                  </a:moveTo>
                  <a:cubicBezTo>
                    <a:pt x="4205500" y="33869"/>
                    <a:pt x="4162773" y="39080"/>
                    <a:pt x="4121609" y="44811"/>
                  </a:cubicBezTo>
                  <a:cubicBezTo>
                    <a:pt x="4078360" y="51064"/>
                    <a:pt x="4034070" y="57317"/>
                    <a:pt x="3991343" y="64612"/>
                  </a:cubicBezTo>
                  <a:cubicBezTo>
                    <a:pt x="3985090" y="66175"/>
                    <a:pt x="3980401" y="68780"/>
                    <a:pt x="3976753" y="73991"/>
                  </a:cubicBezTo>
                  <a:cubicBezTo>
                    <a:pt x="3973627" y="78681"/>
                    <a:pt x="3972063" y="84412"/>
                    <a:pt x="3973106" y="90144"/>
                  </a:cubicBezTo>
                  <a:cubicBezTo>
                    <a:pt x="3974669" y="100565"/>
                    <a:pt x="3984048" y="108381"/>
                    <a:pt x="3994469" y="108381"/>
                  </a:cubicBezTo>
                  <a:cubicBezTo>
                    <a:pt x="3996032" y="108381"/>
                    <a:pt x="3996553" y="108381"/>
                    <a:pt x="3998117" y="107860"/>
                  </a:cubicBezTo>
                  <a:cubicBezTo>
                    <a:pt x="4038759" y="101086"/>
                    <a:pt x="4080966" y="94834"/>
                    <a:pt x="4127340" y="88060"/>
                  </a:cubicBezTo>
                  <a:cubicBezTo>
                    <a:pt x="4168504" y="82328"/>
                    <a:pt x="4212274" y="76596"/>
                    <a:pt x="4256564" y="71907"/>
                  </a:cubicBezTo>
                  <a:cubicBezTo>
                    <a:pt x="4262817" y="71386"/>
                    <a:pt x="4267507" y="68259"/>
                    <a:pt x="4271154" y="64091"/>
                  </a:cubicBezTo>
                  <a:cubicBezTo>
                    <a:pt x="4274801" y="59401"/>
                    <a:pt x="4276365" y="53670"/>
                    <a:pt x="4275322" y="47938"/>
                  </a:cubicBezTo>
                  <a:cubicBezTo>
                    <a:pt x="4275322" y="35953"/>
                    <a:pt x="4264901" y="27616"/>
                    <a:pt x="4251875" y="28658"/>
                  </a:cubicBezTo>
                  <a:close/>
                  <a:moveTo>
                    <a:pt x="3887130" y="105255"/>
                  </a:moveTo>
                  <a:cubicBezTo>
                    <a:pt x="3885046" y="93270"/>
                    <a:pt x="3873062" y="85454"/>
                    <a:pt x="3862119" y="88060"/>
                  </a:cubicBezTo>
                  <a:cubicBezTo>
                    <a:pt x="3856387" y="89623"/>
                    <a:pt x="3851177" y="92228"/>
                    <a:pt x="3848051" y="97439"/>
                  </a:cubicBezTo>
                  <a:cubicBezTo>
                    <a:pt x="3844403" y="102649"/>
                    <a:pt x="3843882" y="108381"/>
                    <a:pt x="3844403" y="114113"/>
                  </a:cubicBezTo>
                  <a:cubicBezTo>
                    <a:pt x="3846487" y="124013"/>
                    <a:pt x="3855867" y="131308"/>
                    <a:pt x="3865767" y="131308"/>
                  </a:cubicBezTo>
                  <a:cubicBezTo>
                    <a:pt x="3867330" y="131308"/>
                    <a:pt x="3868893" y="131308"/>
                    <a:pt x="3869935" y="130787"/>
                  </a:cubicBezTo>
                  <a:cubicBezTo>
                    <a:pt x="3875667" y="129745"/>
                    <a:pt x="3880357" y="126618"/>
                    <a:pt x="3884004" y="121408"/>
                  </a:cubicBezTo>
                  <a:cubicBezTo>
                    <a:pt x="3887130" y="116718"/>
                    <a:pt x="3888172" y="110986"/>
                    <a:pt x="3887130" y="105255"/>
                  </a:cubicBezTo>
                  <a:close/>
                  <a:moveTo>
                    <a:pt x="5822880" y="114113"/>
                  </a:moveTo>
                  <a:cubicBezTo>
                    <a:pt x="5782237" y="104734"/>
                    <a:pt x="5738988" y="96397"/>
                    <a:pt x="5695219" y="87539"/>
                  </a:cubicBezTo>
                  <a:lnTo>
                    <a:pt x="5694698" y="89623"/>
                  </a:lnTo>
                  <a:lnTo>
                    <a:pt x="5694177" y="87539"/>
                  </a:lnTo>
                  <a:cubicBezTo>
                    <a:pt x="5649887" y="78681"/>
                    <a:pt x="5606117" y="70865"/>
                    <a:pt x="5564432" y="64091"/>
                  </a:cubicBezTo>
                  <a:cubicBezTo>
                    <a:pt x="5552448" y="62007"/>
                    <a:pt x="5541506" y="70344"/>
                    <a:pt x="5539421" y="81807"/>
                  </a:cubicBezTo>
                  <a:cubicBezTo>
                    <a:pt x="5537858" y="87539"/>
                    <a:pt x="5539421" y="93791"/>
                    <a:pt x="5543069" y="97960"/>
                  </a:cubicBezTo>
                  <a:cubicBezTo>
                    <a:pt x="5546716" y="102649"/>
                    <a:pt x="5551406" y="105776"/>
                    <a:pt x="5557658" y="107339"/>
                  </a:cubicBezTo>
                  <a:cubicBezTo>
                    <a:pt x="5599865" y="114113"/>
                    <a:pt x="5643113" y="121929"/>
                    <a:pt x="5685840" y="130266"/>
                  </a:cubicBezTo>
                  <a:cubicBezTo>
                    <a:pt x="5731694" y="139124"/>
                    <a:pt x="5773378" y="147461"/>
                    <a:pt x="5813501" y="156840"/>
                  </a:cubicBezTo>
                  <a:cubicBezTo>
                    <a:pt x="5815064" y="157361"/>
                    <a:pt x="5816627" y="157361"/>
                    <a:pt x="5817669" y="157361"/>
                  </a:cubicBezTo>
                  <a:cubicBezTo>
                    <a:pt x="5827569" y="157361"/>
                    <a:pt x="5836948" y="150587"/>
                    <a:pt x="5839032" y="140166"/>
                  </a:cubicBezTo>
                  <a:cubicBezTo>
                    <a:pt x="5842159" y="128182"/>
                    <a:pt x="5834864" y="116718"/>
                    <a:pt x="5822880" y="114113"/>
                  </a:cubicBezTo>
                  <a:close/>
                  <a:moveTo>
                    <a:pt x="5951582" y="144335"/>
                  </a:moveTo>
                  <a:lnTo>
                    <a:pt x="5950019" y="143813"/>
                  </a:lnTo>
                  <a:cubicBezTo>
                    <a:pt x="5938556" y="141729"/>
                    <a:pt x="5927613" y="149024"/>
                    <a:pt x="5925008" y="159966"/>
                  </a:cubicBezTo>
                  <a:cubicBezTo>
                    <a:pt x="5923445" y="165698"/>
                    <a:pt x="5924487" y="171951"/>
                    <a:pt x="5927613" y="176640"/>
                  </a:cubicBezTo>
                  <a:cubicBezTo>
                    <a:pt x="5929177" y="178725"/>
                    <a:pt x="5930219" y="180809"/>
                    <a:pt x="5932303" y="182372"/>
                  </a:cubicBezTo>
                  <a:lnTo>
                    <a:pt x="5923445" y="182372"/>
                  </a:lnTo>
                  <a:lnTo>
                    <a:pt x="5940640" y="186541"/>
                  </a:lnTo>
                  <a:cubicBezTo>
                    <a:pt x="5942203" y="187062"/>
                    <a:pt x="5944287" y="187062"/>
                    <a:pt x="5945851" y="187062"/>
                  </a:cubicBezTo>
                  <a:cubicBezTo>
                    <a:pt x="5955751" y="187062"/>
                    <a:pt x="5964609" y="180288"/>
                    <a:pt x="5967214" y="170909"/>
                  </a:cubicBezTo>
                  <a:cubicBezTo>
                    <a:pt x="5970341" y="159445"/>
                    <a:pt x="5962525" y="147461"/>
                    <a:pt x="5951582" y="144335"/>
                  </a:cubicBezTo>
                  <a:close/>
                  <a:moveTo>
                    <a:pt x="3758949" y="131308"/>
                  </a:moveTo>
                  <a:cubicBezTo>
                    <a:pt x="3756343" y="119845"/>
                    <a:pt x="3744880" y="112029"/>
                    <a:pt x="3732896" y="114634"/>
                  </a:cubicBezTo>
                  <a:cubicBezTo>
                    <a:pt x="3691732" y="124013"/>
                    <a:pt x="3650046" y="133913"/>
                    <a:pt x="3604714" y="144856"/>
                  </a:cubicBezTo>
                  <a:cubicBezTo>
                    <a:pt x="3563550" y="155277"/>
                    <a:pt x="3520823" y="166740"/>
                    <a:pt x="3477575" y="178725"/>
                  </a:cubicBezTo>
                  <a:cubicBezTo>
                    <a:pt x="3471843" y="180288"/>
                    <a:pt x="3467154" y="183935"/>
                    <a:pt x="3464548" y="189146"/>
                  </a:cubicBezTo>
                  <a:cubicBezTo>
                    <a:pt x="3461422" y="194357"/>
                    <a:pt x="3460901" y="200088"/>
                    <a:pt x="3462464" y="205820"/>
                  </a:cubicBezTo>
                  <a:cubicBezTo>
                    <a:pt x="3465069" y="215199"/>
                    <a:pt x="3473927" y="221452"/>
                    <a:pt x="3483306" y="221452"/>
                  </a:cubicBezTo>
                  <a:cubicBezTo>
                    <a:pt x="3485391" y="221452"/>
                    <a:pt x="3487475" y="221452"/>
                    <a:pt x="3489559" y="220931"/>
                  </a:cubicBezTo>
                  <a:cubicBezTo>
                    <a:pt x="3531765" y="208946"/>
                    <a:pt x="3574493" y="197483"/>
                    <a:pt x="3615657" y="187062"/>
                  </a:cubicBezTo>
                  <a:cubicBezTo>
                    <a:pt x="3656821" y="176640"/>
                    <a:pt x="3699548" y="166740"/>
                    <a:pt x="3742275" y="156840"/>
                  </a:cubicBezTo>
                  <a:cubicBezTo>
                    <a:pt x="3753738" y="154756"/>
                    <a:pt x="3761554" y="143292"/>
                    <a:pt x="3758949" y="131308"/>
                  </a:cubicBezTo>
                  <a:close/>
                  <a:moveTo>
                    <a:pt x="3377010" y="248026"/>
                  </a:moveTo>
                  <a:cubicBezTo>
                    <a:pt x="3379615" y="242815"/>
                    <a:pt x="3380136" y="236563"/>
                    <a:pt x="3378573" y="231352"/>
                  </a:cubicBezTo>
                  <a:cubicBezTo>
                    <a:pt x="3374925" y="219889"/>
                    <a:pt x="3362941" y="213636"/>
                    <a:pt x="3351478" y="216762"/>
                  </a:cubicBezTo>
                  <a:cubicBezTo>
                    <a:pt x="3345746" y="218326"/>
                    <a:pt x="3341056" y="221973"/>
                    <a:pt x="3338451" y="227184"/>
                  </a:cubicBezTo>
                  <a:cubicBezTo>
                    <a:pt x="3335846" y="232394"/>
                    <a:pt x="3335324" y="238647"/>
                    <a:pt x="3336888" y="243858"/>
                  </a:cubicBezTo>
                  <a:cubicBezTo>
                    <a:pt x="3339493" y="253237"/>
                    <a:pt x="3347830" y="258968"/>
                    <a:pt x="3357209" y="258968"/>
                  </a:cubicBezTo>
                  <a:cubicBezTo>
                    <a:pt x="3359814" y="258968"/>
                    <a:pt x="3361899" y="258968"/>
                    <a:pt x="3363983" y="257926"/>
                  </a:cubicBezTo>
                  <a:lnTo>
                    <a:pt x="3377010" y="253758"/>
                  </a:lnTo>
                  <a:lnTo>
                    <a:pt x="3371278" y="253758"/>
                  </a:lnTo>
                  <a:cubicBezTo>
                    <a:pt x="3374404" y="252195"/>
                    <a:pt x="3375968" y="250110"/>
                    <a:pt x="3377010" y="248026"/>
                  </a:cubicBezTo>
                  <a:close/>
                  <a:moveTo>
                    <a:pt x="6330395" y="256884"/>
                  </a:moveTo>
                  <a:cubicBezTo>
                    <a:pt x="6289231" y="242294"/>
                    <a:pt x="6247025" y="228747"/>
                    <a:pt x="6204819" y="215720"/>
                  </a:cubicBezTo>
                  <a:cubicBezTo>
                    <a:pt x="6162613" y="202694"/>
                    <a:pt x="6120407" y="190188"/>
                    <a:pt x="6078721" y="178204"/>
                  </a:cubicBezTo>
                  <a:cubicBezTo>
                    <a:pt x="6067258" y="175077"/>
                    <a:pt x="6055274" y="182372"/>
                    <a:pt x="6051626" y="193314"/>
                  </a:cubicBezTo>
                  <a:cubicBezTo>
                    <a:pt x="6048500" y="204778"/>
                    <a:pt x="6055795" y="216762"/>
                    <a:pt x="6066737" y="219889"/>
                  </a:cubicBezTo>
                  <a:cubicBezTo>
                    <a:pt x="6107380" y="231352"/>
                    <a:pt x="6148544" y="243858"/>
                    <a:pt x="6190229" y="256363"/>
                  </a:cubicBezTo>
                  <a:cubicBezTo>
                    <a:pt x="6190750" y="256884"/>
                    <a:pt x="6191271" y="256884"/>
                    <a:pt x="6191792" y="257405"/>
                  </a:cubicBezTo>
                  <a:lnTo>
                    <a:pt x="6193876" y="257926"/>
                  </a:lnTo>
                  <a:cubicBezTo>
                    <a:pt x="6234520" y="270432"/>
                    <a:pt x="6275683" y="283980"/>
                    <a:pt x="6316326" y="298048"/>
                  </a:cubicBezTo>
                  <a:cubicBezTo>
                    <a:pt x="6318410" y="299090"/>
                    <a:pt x="6320495" y="299611"/>
                    <a:pt x="6323100" y="299611"/>
                  </a:cubicBezTo>
                  <a:cubicBezTo>
                    <a:pt x="6332479" y="299611"/>
                    <a:pt x="6340295" y="293359"/>
                    <a:pt x="6343422" y="285022"/>
                  </a:cubicBezTo>
                  <a:cubicBezTo>
                    <a:pt x="6347590" y="273037"/>
                    <a:pt x="6341858" y="261053"/>
                    <a:pt x="6330395" y="256884"/>
                  </a:cubicBezTo>
                  <a:close/>
                  <a:moveTo>
                    <a:pt x="6466914" y="312638"/>
                  </a:moveTo>
                  <a:cubicBezTo>
                    <a:pt x="6464308" y="307427"/>
                    <a:pt x="6460140" y="303259"/>
                    <a:pt x="6454929" y="301175"/>
                  </a:cubicBezTo>
                  <a:lnTo>
                    <a:pt x="6454408" y="301175"/>
                  </a:lnTo>
                  <a:cubicBezTo>
                    <a:pt x="6443466" y="297006"/>
                    <a:pt x="6430960" y="303259"/>
                    <a:pt x="6426792" y="313680"/>
                  </a:cubicBezTo>
                  <a:cubicBezTo>
                    <a:pt x="6423144" y="322538"/>
                    <a:pt x="6425750" y="331917"/>
                    <a:pt x="6432523" y="337649"/>
                  </a:cubicBezTo>
                  <a:lnTo>
                    <a:pt x="6428355" y="337649"/>
                  </a:lnTo>
                  <a:lnTo>
                    <a:pt x="6439818" y="341818"/>
                  </a:lnTo>
                  <a:cubicBezTo>
                    <a:pt x="6442424" y="342860"/>
                    <a:pt x="6444508" y="343381"/>
                    <a:pt x="6447113" y="343381"/>
                  </a:cubicBezTo>
                  <a:cubicBezTo>
                    <a:pt x="6456492" y="343381"/>
                    <a:pt x="6464308" y="337649"/>
                    <a:pt x="6467434" y="329312"/>
                  </a:cubicBezTo>
                  <a:cubicBezTo>
                    <a:pt x="6469519" y="324101"/>
                    <a:pt x="6469519" y="317849"/>
                    <a:pt x="6466914" y="312638"/>
                  </a:cubicBezTo>
                  <a:close/>
                  <a:moveTo>
                    <a:pt x="3253518" y="271474"/>
                  </a:moveTo>
                  <a:cubicBezTo>
                    <a:pt x="3250391" y="260532"/>
                    <a:pt x="3237365" y="254279"/>
                    <a:pt x="3226422" y="257926"/>
                  </a:cubicBezTo>
                  <a:cubicBezTo>
                    <a:pt x="3184737" y="272516"/>
                    <a:pt x="3143052" y="287106"/>
                    <a:pt x="3102409" y="302217"/>
                  </a:cubicBezTo>
                  <a:cubicBezTo>
                    <a:pt x="3063851" y="316806"/>
                    <a:pt x="3023208" y="332438"/>
                    <a:pt x="2979960" y="350676"/>
                  </a:cubicBezTo>
                  <a:cubicBezTo>
                    <a:pt x="2974749" y="352760"/>
                    <a:pt x="2970580" y="356928"/>
                    <a:pt x="2967975" y="362139"/>
                  </a:cubicBezTo>
                  <a:cubicBezTo>
                    <a:pt x="2965891" y="367871"/>
                    <a:pt x="2965891" y="373602"/>
                    <a:pt x="2967975" y="379334"/>
                  </a:cubicBezTo>
                  <a:cubicBezTo>
                    <a:pt x="2971101" y="387671"/>
                    <a:pt x="2978917" y="392882"/>
                    <a:pt x="2987775" y="392882"/>
                  </a:cubicBezTo>
                  <a:cubicBezTo>
                    <a:pt x="2990381" y="392882"/>
                    <a:pt x="2993507" y="392361"/>
                    <a:pt x="2996113" y="391319"/>
                  </a:cubicBezTo>
                  <a:cubicBezTo>
                    <a:pt x="3039361" y="374123"/>
                    <a:pt x="3078961" y="358492"/>
                    <a:pt x="3117520" y="343902"/>
                  </a:cubicBezTo>
                  <a:cubicBezTo>
                    <a:pt x="3159205" y="328270"/>
                    <a:pt x="3200369" y="313680"/>
                    <a:pt x="3240491" y="300132"/>
                  </a:cubicBezTo>
                  <a:cubicBezTo>
                    <a:pt x="3251433" y="295443"/>
                    <a:pt x="3257686" y="282937"/>
                    <a:pt x="3253518" y="271474"/>
                  </a:cubicBezTo>
                  <a:close/>
                  <a:moveTo>
                    <a:pt x="2887210" y="412682"/>
                  </a:moveTo>
                  <a:cubicBezTo>
                    <a:pt x="2882521" y="401740"/>
                    <a:pt x="2869494" y="396529"/>
                    <a:pt x="2858552" y="401219"/>
                  </a:cubicBezTo>
                  <a:lnTo>
                    <a:pt x="2856989" y="402261"/>
                  </a:lnTo>
                  <a:cubicBezTo>
                    <a:pt x="2852820" y="404345"/>
                    <a:pt x="2848652" y="408514"/>
                    <a:pt x="2847089" y="413724"/>
                  </a:cubicBezTo>
                  <a:cubicBezTo>
                    <a:pt x="2845004" y="418935"/>
                    <a:pt x="2845004" y="425188"/>
                    <a:pt x="2847610" y="430398"/>
                  </a:cubicBezTo>
                  <a:cubicBezTo>
                    <a:pt x="2850736" y="438214"/>
                    <a:pt x="2859073" y="443425"/>
                    <a:pt x="2867410" y="443425"/>
                  </a:cubicBezTo>
                  <a:cubicBezTo>
                    <a:pt x="2870536" y="443425"/>
                    <a:pt x="2873663" y="442383"/>
                    <a:pt x="2876268" y="441862"/>
                  </a:cubicBezTo>
                  <a:cubicBezTo>
                    <a:pt x="2882000" y="439256"/>
                    <a:pt x="2885647" y="435088"/>
                    <a:pt x="2888252" y="429877"/>
                  </a:cubicBezTo>
                  <a:cubicBezTo>
                    <a:pt x="2889816" y="423624"/>
                    <a:pt x="2889816" y="417893"/>
                    <a:pt x="2887210" y="412682"/>
                  </a:cubicBezTo>
                  <a:close/>
                  <a:moveTo>
                    <a:pt x="6830615" y="467915"/>
                  </a:moveTo>
                  <a:cubicBezTo>
                    <a:pt x="6829052" y="462183"/>
                    <a:pt x="6824884" y="458015"/>
                    <a:pt x="6819673" y="455409"/>
                  </a:cubicBezTo>
                  <a:cubicBezTo>
                    <a:pt x="6776425" y="435609"/>
                    <a:pt x="6737345" y="417372"/>
                    <a:pt x="6699829" y="401219"/>
                  </a:cubicBezTo>
                  <a:cubicBezTo>
                    <a:pt x="6660749" y="384024"/>
                    <a:pt x="6620627" y="367350"/>
                    <a:pt x="6577900" y="349633"/>
                  </a:cubicBezTo>
                  <a:cubicBezTo>
                    <a:pt x="6566958" y="345465"/>
                    <a:pt x="6553931" y="351197"/>
                    <a:pt x="6549762" y="361618"/>
                  </a:cubicBezTo>
                  <a:cubicBezTo>
                    <a:pt x="6545073" y="372560"/>
                    <a:pt x="6550805" y="385587"/>
                    <a:pt x="6561747" y="389755"/>
                  </a:cubicBezTo>
                  <a:cubicBezTo>
                    <a:pt x="6602911" y="406950"/>
                    <a:pt x="6643554" y="423624"/>
                    <a:pt x="6682113" y="440820"/>
                  </a:cubicBezTo>
                  <a:cubicBezTo>
                    <a:pt x="6721193" y="458015"/>
                    <a:pt x="6761314" y="476252"/>
                    <a:pt x="6801436" y="495010"/>
                  </a:cubicBezTo>
                  <a:cubicBezTo>
                    <a:pt x="6804562" y="496573"/>
                    <a:pt x="6807688" y="497094"/>
                    <a:pt x="6810815" y="497094"/>
                  </a:cubicBezTo>
                  <a:cubicBezTo>
                    <a:pt x="6819152" y="497094"/>
                    <a:pt x="6826968" y="491884"/>
                    <a:pt x="6830615" y="484589"/>
                  </a:cubicBezTo>
                  <a:cubicBezTo>
                    <a:pt x="6832179" y="479378"/>
                    <a:pt x="6832700" y="473125"/>
                    <a:pt x="6830615" y="467915"/>
                  </a:cubicBezTo>
                  <a:close/>
                  <a:moveTo>
                    <a:pt x="6937954" y="513768"/>
                  </a:moveTo>
                  <a:cubicBezTo>
                    <a:pt x="6927533" y="508558"/>
                    <a:pt x="6913986" y="512726"/>
                    <a:pt x="6908775" y="523148"/>
                  </a:cubicBezTo>
                  <a:cubicBezTo>
                    <a:pt x="6906169" y="528358"/>
                    <a:pt x="6905649" y="534090"/>
                    <a:pt x="6907212" y="539822"/>
                  </a:cubicBezTo>
                  <a:cubicBezTo>
                    <a:pt x="6908775" y="545553"/>
                    <a:pt x="6912943" y="549722"/>
                    <a:pt x="6918154" y="552327"/>
                  </a:cubicBezTo>
                  <a:cubicBezTo>
                    <a:pt x="6921281" y="553890"/>
                    <a:pt x="6924407" y="554411"/>
                    <a:pt x="6927533" y="554411"/>
                  </a:cubicBezTo>
                  <a:cubicBezTo>
                    <a:pt x="6935870" y="554411"/>
                    <a:pt x="6943165" y="550243"/>
                    <a:pt x="6947334" y="542427"/>
                  </a:cubicBezTo>
                  <a:cubicBezTo>
                    <a:pt x="6953066" y="532006"/>
                    <a:pt x="6948375" y="518979"/>
                    <a:pt x="6937954" y="513768"/>
                  </a:cubicBezTo>
                  <a:close/>
                  <a:moveTo>
                    <a:pt x="2768408" y="466352"/>
                  </a:moveTo>
                  <a:cubicBezTo>
                    <a:pt x="2763718" y="455930"/>
                    <a:pt x="2750171" y="451241"/>
                    <a:pt x="2739750" y="455930"/>
                  </a:cubicBezTo>
                  <a:cubicBezTo>
                    <a:pt x="2702233" y="473647"/>
                    <a:pt x="2663674" y="492405"/>
                    <a:pt x="2621989" y="513768"/>
                  </a:cubicBezTo>
                  <a:cubicBezTo>
                    <a:pt x="2621468" y="514289"/>
                    <a:pt x="2620947" y="514289"/>
                    <a:pt x="2620426" y="514289"/>
                  </a:cubicBezTo>
                  <a:cubicBezTo>
                    <a:pt x="2582910" y="533569"/>
                    <a:pt x="2545393" y="552848"/>
                    <a:pt x="2505271" y="574733"/>
                  </a:cubicBezTo>
                  <a:cubicBezTo>
                    <a:pt x="2494850" y="580465"/>
                    <a:pt x="2490681" y="594012"/>
                    <a:pt x="2496413" y="604433"/>
                  </a:cubicBezTo>
                  <a:cubicBezTo>
                    <a:pt x="2500582" y="611207"/>
                    <a:pt x="2507876" y="615897"/>
                    <a:pt x="2515692" y="615897"/>
                  </a:cubicBezTo>
                  <a:cubicBezTo>
                    <a:pt x="2519340" y="615897"/>
                    <a:pt x="2522466" y="614855"/>
                    <a:pt x="2526114" y="613292"/>
                  </a:cubicBezTo>
                  <a:cubicBezTo>
                    <a:pt x="2564151" y="592970"/>
                    <a:pt x="2602710" y="572649"/>
                    <a:pt x="2640226" y="553369"/>
                  </a:cubicBezTo>
                  <a:cubicBezTo>
                    <a:pt x="2640747" y="553369"/>
                    <a:pt x="2641269" y="553369"/>
                    <a:pt x="2641790" y="552848"/>
                  </a:cubicBezTo>
                  <a:lnTo>
                    <a:pt x="2650127" y="548680"/>
                  </a:lnTo>
                  <a:cubicBezTo>
                    <a:pt x="2685559" y="530964"/>
                    <a:pt x="2722033" y="513247"/>
                    <a:pt x="2758508" y="495531"/>
                  </a:cubicBezTo>
                  <a:cubicBezTo>
                    <a:pt x="2764240" y="492926"/>
                    <a:pt x="2767887" y="488757"/>
                    <a:pt x="2769971" y="483026"/>
                  </a:cubicBezTo>
                  <a:cubicBezTo>
                    <a:pt x="2771013" y="477815"/>
                    <a:pt x="2771013" y="471562"/>
                    <a:pt x="2768408" y="466352"/>
                  </a:cubicBezTo>
                  <a:close/>
                  <a:moveTo>
                    <a:pt x="2420338" y="647161"/>
                  </a:moveTo>
                  <a:cubicBezTo>
                    <a:pt x="2414606" y="637260"/>
                    <a:pt x="2400538" y="633092"/>
                    <a:pt x="2390637" y="639345"/>
                  </a:cubicBezTo>
                  <a:cubicBezTo>
                    <a:pt x="2380216" y="645597"/>
                    <a:pt x="2376569" y="658624"/>
                    <a:pt x="2382300" y="669045"/>
                  </a:cubicBezTo>
                  <a:cubicBezTo>
                    <a:pt x="2386469" y="675819"/>
                    <a:pt x="2393764" y="679988"/>
                    <a:pt x="2401059" y="679988"/>
                  </a:cubicBezTo>
                  <a:cubicBezTo>
                    <a:pt x="2405227" y="679988"/>
                    <a:pt x="2408353" y="678945"/>
                    <a:pt x="2411480" y="677382"/>
                  </a:cubicBezTo>
                  <a:lnTo>
                    <a:pt x="2412522" y="676861"/>
                  </a:lnTo>
                  <a:cubicBezTo>
                    <a:pt x="2422422" y="670608"/>
                    <a:pt x="2426070" y="657582"/>
                    <a:pt x="2420338" y="647161"/>
                  </a:cubicBezTo>
                  <a:close/>
                  <a:moveTo>
                    <a:pt x="7292798" y="720631"/>
                  </a:moveTo>
                  <a:cubicBezTo>
                    <a:pt x="7291235" y="714899"/>
                    <a:pt x="7288109" y="710209"/>
                    <a:pt x="7282898" y="707083"/>
                  </a:cubicBezTo>
                  <a:cubicBezTo>
                    <a:pt x="7247466" y="685198"/>
                    <a:pt x="7209949" y="662793"/>
                    <a:pt x="7169827" y="639866"/>
                  </a:cubicBezTo>
                  <a:cubicBezTo>
                    <a:pt x="7131790" y="617981"/>
                    <a:pt x="7093232" y="596618"/>
                    <a:pt x="7055193" y="575254"/>
                  </a:cubicBezTo>
                  <a:cubicBezTo>
                    <a:pt x="7054673" y="574733"/>
                    <a:pt x="7054152" y="574733"/>
                    <a:pt x="7053630" y="574733"/>
                  </a:cubicBezTo>
                  <a:cubicBezTo>
                    <a:pt x="7043730" y="570043"/>
                    <a:pt x="7030703" y="573691"/>
                    <a:pt x="7026014" y="584112"/>
                  </a:cubicBezTo>
                  <a:cubicBezTo>
                    <a:pt x="7022888" y="589323"/>
                    <a:pt x="7022367" y="595054"/>
                    <a:pt x="7024451" y="600786"/>
                  </a:cubicBezTo>
                  <a:cubicBezTo>
                    <a:pt x="7026014" y="606518"/>
                    <a:pt x="7029662" y="610686"/>
                    <a:pt x="7034872" y="613813"/>
                  </a:cubicBezTo>
                  <a:cubicBezTo>
                    <a:pt x="7074473" y="635176"/>
                    <a:pt x="7112511" y="656540"/>
                    <a:pt x="7148985" y="677903"/>
                  </a:cubicBezTo>
                  <a:cubicBezTo>
                    <a:pt x="7187022" y="699788"/>
                    <a:pt x="7224539" y="722194"/>
                    <a:pt x="7261013" y="744599"/>
                  </a:cubicBezTo>
                  <a:cubicBezTo>
                    <a:pt x="7264661" y="746684"/>
                    <a:pt x="7268309" y="748247"/>
                    <a:pt x="7272477" y="748247"/>
                  </a:cubicBezTo>
                  <a:cubicBezTo>
                    <a:pt x="7280293" y="748247"/>
                    <a:pt x="7287066" y="744078"/>
                    <a:pt x="7291235" y="737826"/>
                  </a:cubicBezTo>
                  <a:cubicBezTo>
                    <a:pt x="7293320" y="732094"/>
                    <a:pt x="7294362" y="725841"/>
                    <a:pt x="7292798" y="720631"/>
                  </a:cubicBezTo>
                  <a:close/>
                  <a:moveTo>
                    <a:pt x="7394406" y="777948"/>
                  </a:moveTo>
                  <a:lnTo>
                    <a:pt x="7394406" y="777948"/>
                  </a:lnTo>
                  <a:cubicBezTo>
                    <a:pt x="7384506" y="771174"/>
                    <a:pt x="7370957" y="774300"/>
                    <a:pt x="7364184" y="784200"/>
                  </a:cubicBezTo>
                  <a:cubicBezTo>
                    <a:pt x="7357410" y="794100"/>
                    <a:pt x="7360016" y="807648"/>
                    <a:pt x="7370957" y="814422"/>
                  </a:cubicBezTo>
                  <a:cubicBezTo>
                    <a:pt x="7374605" y="817027"/>
                    <a:pt x="7378252" y="818590"/>
                    <a:pt x="7382943" y="818590"/>
                  </a:cubicBezTo>
                  <a:cubicBezTo>
                    <a:pt x="7390237" y="818590"/>
                    <a:pt x="7397011" y="814422"/>
                    <a:pt x="7401179" y="808690"/>
                  </a:cubicBezTo>
                  <a:cubicBezTo>
                    <a:pt x="7407433" y="797748"/>
                    <a:pt x="7404305" y="784200"/>
                    <a:pt x="7394406" y="777948"/>
                  </a:cubicBezTo>
                  <a:close/>
                  <a:moveTo>
                    <a:pt x="2307267" y="713336"/>
                  </a:moveTo>
                  <a:cubicBezTo>
                    <a:pt x="2301015" y="703435"/>
                    <a:pt x="2287467" y="700309"/>
                    <a:pt x="2277045" y="706562"/>
                  </a:cubicBezTo>
                  <a:cubicBezTo>
                    <a:pt x="2242134" y="727925"/>
                    <a:pt x="2206181" y="750852"/>
                    <a:pt x="2166059" y="776905"/>
                  </a:cubicBezTo>
                  <a:cubicBezTo>
                    <a:pt x="2130106" y="800353"/>
                    <a:pt x="2093110" y="825364"/>
                    <a:pt x="2056636" y="850375"/>
                  </a:cubicBezTo>
                  <a:cubicBezTo>
                    <a:pt x="2051946" y="853502"/>
                    <a:pt x="2048820" y="858712"/>
                    <a:pt x="2047778" y="864444"/>
                  </a:cubicBezTo>
                  <a:cubicBezTo>
                    <a:pt x="2046214" y="870176"/>
                    <a:pt x="2047778" y="875907"/>
                    <a:pt x="2051425" y="880597"/>
                  </a:cubicBezTo>
                  <a:cubicBezTo>
                    <a:pt x="2055594" y="886850"/>
                    <a:pt x="2062368" y="889976"/>
                    <a:pt x="2069141" y="889976"/>
                  </a:cubicBezTo>
                  <a:cubicBezTo>
                    <a:pt x="2073310" y="889976"/>
                    <a:pt x="2077999" y="888413"/>
                    <a:pt x="2081126" y="885808"/>
                  </a:cubicBezTo>
                  <a:cubicBezTo>
                    <a:pt x="2116558" y="860797"/>
                    <a:pt x="2153554" y="836828"/>
                    <a:pt x="2189507" y="812859"/>
                  </a:cubicBezTo>
                  <a:cubicBezTo>
                    <a:pt x="2225460" y="789411"/>
                    <a:pt x="2262456" y="765963"/>
                    <a:pt x="2299451" y="743036"/>
                  </a:cubicBezTo>
                  <a:cubicBezTo>
                    <a:pt x="2310393" y="736784"/>
                    <a:pt x="2313520" y="723757"/>
                    <a:pt x="2307267" y="713336"/>
                  </a:cubicBezTo>
                  <a:close/>
                  <a:moveTo>
                    <a:pt x="1980561" y="931661"/>
                  </a:moveTo>
                  <a:cubicBezTo>
                    <a:pt x="1973787" y="922282"/>
                    <a:pt x="1959718" y="920198"/>
                    <a:pt x="1950339" y="926972"/>
                  </a:cubicBezTo>
                  <a:cubicBezTo>
                    <a:pt x="1940960" y="934267"/>
                    <a:pt x="1938354" y="947814"/>
                    <a:pt x="1946170" y="957193"/>
                  </a:cubicBezTo>
                  <a:cubicBezTo>
                    <a:pt x="1950339" y="962925"/>
                    <a:pt x="1956592" y="966572"/>
                    <a:pt x="1963365" y="966572"/>
                  </a:cubicBezTo>
                  <a:cubicBezTo>
                    <a:pt x="1968055" y="966572"/>
                    <a:pt x="1972745" y="965009"/>
                    <a:pt x="1976392" y="962404"/>
                  </a:cubicBezTo>
                  <a:cubicBezTo>
                    <a:pt x="1985771" y="955109"/>
                    <a:pt x="1988377" y="941040"/>
                    <a:pt x="1980561" y="931661"/>
                  </a:cubicBezTo>
                  <a:close/>
                  <a:moveTo>
                    <a:pt x="7715902" y="1007736"/>
                  </a:moveTo>
                  <a:cubicBezTo>
                    <a:pt x="7680469" y="980120"/>
                    <a:pt x="7645558" y="953025"/>
                    <a:pt x="7611168" y="928014"/>
                  </a:cubicBezTo>
                  <a:cubicBezTo>
                    <a:pt x="7576778" y="902482"/>
                    <a:pt x="7540825" y="876428"/>
                    <a:pt x="7504350" y="850896"/>
                  </a:cubicBezTo>
                  <a:cubicBezTo>
                    <a:pt x="7494971" y="844123"/>
                    <a:pt x="7480381" y="846728"/>
                    <a:pt x="7474129" y="856628"/>
                  </a:cubicBezTo>
                  <a:cubicBezTo>
                    <a:pt x="7470481" y="861318"/>
                    <a:pt x="7469438" y="867049"/>
                    <a:pt x="7470481" y="873302"/>
                  </a:cubicBezTo>
                  <a:cubicBezTo>
                    <a:pt x="7471523" y="879034"/>
                    <a:pt x="7474649" y="883723"/>
                    <a:pt x="7479860" y="886850"/>
                  </a:cubicBezTo>
                  <a:cubicBezTo>
                    <a:pt x="7517898" y="913424"/>
                    <a:pt x="7552288" y="938435"/>
                    <a:pt x="7586157" y="962925"/>
                  </a:cubicBezTo>
                  <a:cubicBezTo>
                    <a:pt x="7621589" y="988978"/>
                    <a:pt x="7655979" y="1015552"/>
                    <a:pt x="7690369" y="1042127"/>
                  </a:cubicBezTo>
                  <a:cubicBezTo>
                    <a:pt x="7694538" y="1045253"/>
                    <a:pt x="7698707" y="1046295"/>
                    <a:pt x="7703396" y="1046295"/>
                  </a:cubicBezTo>
                  <a:cubicBezTo>
                    <a:pt x="7710170" y="1046295"/>
                    <a:pt x="7716423" y="1043169"/>
                    <a:pt x="7720591" y="1037958"/>
                  </a:cubicBezTo>
                  <a:cubicBezTo>
                    <a:pt x="7724239" y="1033269"/>
                    <a:pt x="7725802" y="1027537"/>
                    <a:pt x="7724760" y="1021805"/>
                  </a:cubicBezTo>
                  <a:cubicBezTo>
                    <a:pt x="7723717" y="1016595"/>
                    <a:pt x="7720591" y="1011384"/>
                    <a:pt x="7715902" y="1007736"/>
                  </a:cubicBezTo>
                  <a:close/>
                  <a:moveTo>
                    <a:pt x="7819072" y="1090064"/>
                  </a:moveTo>
                  <a:cubicBezTo>
                    <a:pt x="7809693" y="1082770"/>
                    <a:pt x="7795624" y="1083812"/>
                    <a:pt x="7788329" y="1093191"/>
                  </a:cubicBezTo>
                  <a:cubicBezTo>
                    <a:pt x="7784682" y="1097359"/>
                    <a:pt x="7783119" y="1103091"/>
                    <a:pt x="7783640" y="1109344"/>
                  </a:cubicBezTo>
                  <a:cubicBezTo>
                    <a:pt x="7784161" y="1115076"/>
                    <a:pt x="7787287" y="1120286"/>
                    <a:pt x="7791456" y="1123934"/>
                  </a:cubicBezTo>
                  <a:cubicBezTo>
                    <a:pt x="7795624" y="1127581"/>
                    <a:pt x="7800314" y="1129144"/>
                    <a:pt x="7805525" y="1129144"/>
                  </a:cubicBezTo>
                  <a:cubicBezTo>
                    <a:pt x="7812298" y="1129144"/>
                    <a:pt x="7818030" y="1126018"/>
                    <a:pt x="7822198" y="1120807"/>
                  </a:cubicBezTo>
                  <a:cubicBezTo>
                    <a:pt x="7826367" y="1116639"/>
                    <a:pt x="7827930" y="1110907"/>
                    <a:pt x="7827409" y="1105175"/>
                  </a:cubicBezTo>
                  <a:cubicBezTo>
                    <a:pt x="7825846" y="1099444"/>
                    <a:pt x="7823241" y="1094233"/>
                    <a:pt x="7819072" y="1090064"/>
                  </a:cubicBezTo>
                  <a:close/>
                  <a:moveTo>
                    <a:pt x="1876348" y="1010342"/>
                  </a:moveTo>
                  <a:cubicBezTo>
                    <a:pt x="1869053" y="1000963"/>
                    <a:pt x="1854984" y="998878"/>
                    <a:pt x="1845605" y="1006173"/>
                  </a:cubicBezTo>
                  <a:cubicBezTo>
                    <a:pt x="1812778" y="1031705"/>
                    <a:pt x="1779430" y="1058280"/>
                    <a:pt x="1744519" y="1086938"/>
                  </a:cubicBezTo>
                  <a:cubicBezTo>
                    <a:pt x="1743998" y="1087459"/>
                    <a:pt x="1742956" y="1087980"/>
                    <a:pt x="1742956" y="1088501"/>
                  </a:cubicBezTo>
                  <a:cubicBezTo>
                    <a:pt x="1710129" y="1115597"/>
                    <a:pt x="1676260" y="1144255"/>
                    <a:pt x="1642912" y="1173956"/>
                  </a:cubicBezTo>
                  <a:cubicBezTo>
                    <a:pt x="1638222" y="1177603"/>
                    <a:pt x="1635617" y="1182814"/>
                    <a:pt x="1635096" y="1188545"/>
                  </a:cubicBezTo>
                  <a:cubicBezTo>
                    <a:pt x="1634575" y="1194277"/>
                    <a:pt x="1636659" y="1200009"/>
                    <a:pt x="1640828" y="1204177"/>
                  </a:cubicBezTo>
                  <a:cubicBezTo>
                    <a:pt x="1644996" y="1208867"/>
                    <a:pt x="1650728" y="1211472"/>
                    <a:pt x="1656981" y="1211472"/>
                  </a:cubicBezTo>
                  <a:cubicBezTo>
                    <a:pt x="1662712" y="1211472"/>
                    <a:pt x="1667402" y="1209909"/>
                    <a:pt x="1671570" y="1206262"/>
                  </a:cubicBezTo>
                  <a:lnTo>
                    <a:pt x="1674176" y="1204177"/>
                  </a:lnTo>
                  <a:cubicBezTo>
                    <a:pt x="1705960" y="1176561"/>
                    <a:pt x="1738787" y="1148945"/>
                    <a:pt x="1771093" y="1121849"/>
                  </a:cubicBezTo>
                  <a:cubicBezTo>
                    <a:pt x="1807047" y="1092149"/>
                    <a:pt x="1840395" y="1065575"/>
                    <a:pt x="1872701" y="1040563"/>
                  </a:cubicBezTo>
                  <a:cubicBezTo>
                    <a:pt x="1881559" y="1033269"/>
                    <a:pt x="1883122" y="1019721"/>
                    <a:pt x="1876348" y="1010342"/>
                  </a:cubicBezTo>
                  <a:close/>
                  <a:moveTo>
                    <a:pt x="1575174" y="1262536"/>
                  </a:moveTo>
                  <a:cubicBezTo>
                    <a:pt x="1567358" y="1254199"/>
                    <a:pt x="1552768" y="1253157"/>
                    <a:pt x="1544431" y="1260973"/>
                  </a:cubicBezTo>
                  <a:cubicBezTo>
                    <a:pt x="1540262" y="1265142"/>
                    <a:pt x="1537657" y="1270352"/>
                    <a:pt x="1537657" y="1276084"/>
                  </a:cubicBezTo>
                  <a:cubicBezTo>
                    <a:pt x="1537136" y="1282337"/>
                    <a:pt x="1539220" y="1287547"/>
                    <a:pt x="1543389" y="1291716"/>
                  </a:cubicBezTo>
                  <a:cubicBezTo>
                    <a:pt x="1547557" y="1295885"/>
                    <a:pt x="1553289" y="1298490"/>
                    <a:pt x="1559542" y="1298490"/>
                  </a:cubicBezTo>
                  <a:cubicBezTo>
                    <a:pt x="1564752" y="1298490"/>
                    <a:pt x="1570484" y="1296406"/>
                    <a:pt x="1574132" y="1292758"/>
                  </a:cubicBezTo>
                  <a:cubicBezTo>
                    <a:pt x="1582469" y="1284942"/>
                    <a:pt x="1582989" y="1271394"/>
                    <a:pt x="1575174" y="1262536"/>
                  </a:cubicBezTo>
                  <a:close/>
                  <a:moveTo>
                    <a:pt x="8112952" y="1353722"/>
                  </a:moveTo>
                  <a:cubicBezTo>
                    <a:pt x="8079604" y="1320896"/>
                    <a:pt x="8048339" y="1291716"/>
                    <a:pt x="8017076" y="1263057"/>
                  </a:cubicBezTo>
                  <a:cubicBezTo>
                    <a:pt x="7985812" y="1234399"/>
                    <a:pt x="7954027" y="1205741"/>
                    <a:pt x="7919116" y="1174998"/>
                  </a:cubicBezTo>
                  <a:cubicBezTo>
                    <a:pt x="7909737" y="1167182"/>
                    <a:pt x="7895668" y="1168224"/>
                    <a:pt x="7888373" y="1177082"/>
                  </a:cubicBezTo>
                  <a:cubicBezTo>
                    <a:pt x="7884205" y="1181251"/>
                    <a:pt x="7882642" y="1186982"/>
                    <a:pt x="7883163" y="1192714"/>
                  </a:cubicBezTo>
                  <a:cubicBezTo>
                    <a:pt x="7883684" y="1198446"/>
                    <a:pt x="7886289" y="1204177"/>
                    <a:pt x="7890457" y="1207304"/>
                  </a:cubicBezTo>
                  <a:lnTo>
                    <a:pt x="7890979" y="1208346"/>
                  </a:lnTo>
                  <a:cubicBezTo>
                    <a:pt x="7926411" y="1238568"/>
                    <a:pt x="7958196" y="1267226"/>
                    <a:pt x="7987375" y="1294842"/>
                  </a:cubicBezTo>
                  <a:cubicBezTo>
                    <a:pt x="8020202" y="1324543"/>
                    <a:pt x="8051987" y="1354244"/>
                    <a:pt x="8082209" y="1384465"/>
                  </a:cubicBezTo>
                  <a:cubicBezTo>
                    <a:pt x="8086378" y="1388634"/>
                    <a:pt x="8091588" y="1390718"/>
                    <a:pt x="8097319" y="1390718"/>
                  </a:cubicBezTo>
                  <a:cubicBezTo>
                    <a:pt x="8103573" y="1390718"/>
                    <a:pt x="8108783" y="1388634"/>
                    <a:pt x="8112952" y="1383944"/>
                  </a:cubicBezTo>
                  <a:cubicBezTo>
                    <a:pt x="8121809" y="1376128"/>
                    <a:pt x="8121289" y="1362581"/>
                    <a:pt x="8112952" y="1353722"/>
                  </a:cubicBezTo>
                  <a:close/>
                  <a:moveTo>
                    <a:pt x="8206222" y="1446993"/>
                  </a:moveTo>
                  <a:cubicBezTo>
                    <a:pt x="8197885" y="1438656"/>
                    <a:pt x="8183816" y="1438656"/>
                    <a:pt x="8175479" y="1446472"/>
                  </a:cubicBezTo>
                  <a:cubicBezTo>
                    <a:pt x="8166621" y="1455330"/>
                    <a:pt x="8166621" y="1468878"/>
                    <a:pt x="8174958" y="1477215"/>
                  </a:cubicBezTo>
                  <a:cubicBezTo>
                    <a:pt x="8179127" y="1481383"/>
                    <a:pt x="8184858" y="1483988"/>
                    <a:pt x="8190590" y="1483988"/>
                  </a:cubicBezTo>
                  <a:cubicBezTo>
                    <a:pt x="8196322" y="1483988"/>
                    <a:pt x="8201532" y="1481904"/>
                    <a:pt x="8205701" y="1477736"/>
                  </a:cubicBezTo>
                  <a:cubicBezTo>
                    <a:pt x="8214559" y="1469399"/>
                    <a:pt x="8214559" y="1455851"/>
                    <a:pt x="8206222" y="1446993"/>
                  </a:cubicBezTo>
                  <a:close/>
                  <a:moveTo>
                    <a:pt x="1479819" y="1352159"/>
                  </a:moveTo>
                  <a:cubicBezTo>
                    <a:pt x="1472003" y="1343822"/>
                    <a:pt x="1457413" y="1343822"/>
                    <a:pt x="1449076" y="1351638"/>
                  </a:cubicBezTo>
                  <a:cubicBezTo>
                    <a:pt x="1416770" y="1382902"/>
                    <a:pt x="1386028" y="1414166"/>
                    <a:pt x="1355806" y="1444909"/>
                  </a:cubicBezTo>
                  <a:cubicBezTo>
                    <a:pt x="1325584" y="1475651"/>
                    <a:pt x="1295363" y="1507957"/>
                    <a:pt x="1265141" y="1540784"/>
                  </a:cubicBezTo>
                  <a:cubicBezTo>
                    <a:pt x="1260973" y="1544953"/>
                    <a:pt x="1258888" y="1550163"/>
                    <a:pt x="1259409" y="1556416"/>
                  </a:cubicBezTo>
                  <a:cubicBezTo>
                    <a:pt x="1259409" y="1562148"/>
                    <a:pt x="1262015" y="1567358"/>
                    <a:pt x="1266183" y="1571006"/>
                  </a:cubicBezTo>
                  <a:cubicBezTo>
                    <a:pt x="1270352" y="1575174"/>
                    <a:pt x="1275562" y="1577259"/>
                    <a:pt x="1280773" y="1577259"/>
                  </a:cubicBezTo>
                  <a:cubicBezTo>
                    <a:pt x="1287026" y="1577259"/>
                    <a:pt x="1292757" y="1574653"/>
                    <a:pt x="1296405" y="1570485"/>
                  </a:cubicBezTo>
                  <a:cubicBezTo>
                    <a:pt x="1327148" y="1537137"/>
                    <a:pt x="1357369" y="1505352"/>
                    <a:pt x="1386549" y="1475651"/>
                  </a:cubicBezTo>
                  <a:cubicBezTo>
                    <a:pt x="1416770" y="1444387"/>
                    <a:pt x="1448555" y="1413124"/>
                    <a:pt x="1478777" y="1383423"/>
                  </a:cubicBezTo>
                  <a:cubicBezTo>
                    <a:pt x="1487635" y="1374565"/>
                    <a:pt x="1487635" y="1361017"/>
                    <a:pt x="1479819" y="1352159"/>
                  </a:cubicBezTo>
                  <a:close/>
                  <a:moveTo>
                    <a:pt x="1215119" y="1651250"/>
                  </a:moveTo>
                  <a:cubicBezTo>
                    <a:pt x="1214598" y="1644997"/>
                    <a:pt x="1211993" y="1639786"/>
                    <a:pt x="1207824" y="1636139"/>
                  </a:cubicBezTo>
                  <a:cubicBezTo>
                    <a:pt x="1198966" y="1628844"/>
                    <a:pt x="1184897" y="1629365"/>
                    <a:pt x="1177603" y="1638223"/>
                  </a:cubicBezTo>
                  <a:cubicBezTo>
                    <a:pt x="1173434" y="1642392"/>
                    <a:pt x="1171871" y="1648123"/>
                    <a:pt x="1171871" y="1653855"/>
                  </a:cubicBezTo>
                  <a:cubicBezTo>
                    <a:pt x="1172392" y="1660108"/>
                    <a:pt x="1174997" y="1665318"/>
                    <a:pt x="1179687" y="1668966"/>
                  </a:cubicBezTo>
                  <a:cubicBezTo>
                    <a:pt x="1183855" y="1672613"/>
                    <a:pt x="1188545" y="1674177"/>
                    <a:pt x="1193755" y="1674177"/>
                  </a:cubicBezTo>
                  <a:cubicBezTo>
                    <a:pt x="1200529" y="1674177"/>
                    <a:pt x="1206261" y="1671571"/>
                    <a:pt x="1210429" y="1666882"/>
                  </a:cubicBezTo>
                  <a:lnTo>
                    <a:pt x="1213556" y="1663234"/>
                  </a:lnTo>
                  <a:lnTo>
                    <a:pt x="1212514" y="1663234"/>
                  </a:lnTo>
                  <a:cubicBezTo>
                    <a:pt x="1214598" y="1659587"/>
                    <a:pt x="1215640" y="1655939"/>
                    <a:pt x="1215119" y="1651250"/>
                  </a:cubicBezTo>
                  <a:close/>
                  <a:moveTo>
                    <a:pt x="8469358" y="1740873"/>
                  </a:moveTo>
                  <a:cubicBezTo>
                    <a:pt x="8440179" y="1705440"/>
                    <a:pt x="8412563" y="1673134"/>
                    <a:pt x="8385467" y="1641871"/>
                  </a:cubicBezTo>
                  <a:cubicBezTo>
                    <a:pt x="8384946" y="1641349"/>
                    <a:pt x="8384946" y="1640828"/>
                    <a:pt x="8384426" y="1640307"/>
                  </a:cubicBezTo>
                  <a:cubicBezTo>
                    <a:pt x="8356809" y="1609565"/>
                    <a:pt x="8328151" y="1577259"/>
                    <a:pt x="8296366" y="1542347"/>
                  </a:cubicBezTo>
                  <a:cubicBezTo>
                    <a:pt x="8288550" y="1534010"/>
                    <a:pt x="8273960" y="1532968"/>
                    <a:pt x="8265623" y="1540784"/>
                  </a:cubicBezTo>
                  <a:cubicBezTo>
                    <a:pt x="8261455" y="1544953"/>
                    <a:pt x="8258849" y="1550163"/>
                    <a:pt x="8258849" y="1555895"/>
                  </a:cubicBezTo>
                  <a:cubicBezTo>
                    <a:pt x="8258849" y="1561627"/>
                    <a:pt x="8260412" y="1567358"/>
                    <a:pt x="8264581" y="1571527"/>
                  </a:cubicBezTo>
                  <a:cubicBezTo>
                    <a:pt x="8292718" y="1601749"/>
                    <a:pt x="8322419" y="1635097"/>
                    <a:pt x="8351598" y="1668445"/>
                  </a:cubicBezTo>
                  <a:cubicBezTo>
                    <a:pt x="8379736" y="1700751"/>
                    <a:pt x="8408394" y="1734099"/>
                    <a:pt x="8436010" y="1767968"/>
                  </a:cubicBezTo>
                  <a:cubicBezTo>
                    <a:pt x="8440179" y="1772657"/>
                    <a:pt x="8446431" y="1775784"/>
                    <a:pt x="8453205" y="1775784"/>
                  </a:cubicBezTo>
                  <a:cubicBezTo>
                    <a:pt x="8457895" y="1775784"/>
                    <a:pt x="8463106" y="1774221"/>
                    <a:pt x="8467274" y="1770573"/>
                  </a:cubicBezTo>
                  <a:cubicBezTo>
                    <a:pt x="8476132" y="1764320"/>
                    <a:pt x="8477175" y="1750252"/>
                    <a:pt x="8469358" y="1740873"/>
                  </a:cubicBezTo>
                  <a:close/>
                  <a:moveTo>
                    <a:pt x="8552208" y="1843522"/>
                  </a:moveTo>
                  <a:lnTo>
                    <a:pt x="8551165" y="1842480"/>
                  </a:lnTo>
                  <a:cubicBezTo>
                    <a:pt x="8543871" y="1834143"/>
                    <a:pt x="8530322" y="1832580"/>
                    <a:pt x="8520944" y="1839875"/>
                  </a:cubicBezTo>
                  <a:cubicBezTo>
                    <a:pt x="8515733" y="1844043"/>
                    <a:pt x="8512607" y="1850296"/>
                    <a:pt x="8512607" y="1857070"/>
                  </a:cubicBezTo>
                  <a:cubicBezTo>
                    <a:pt x="8512607" y="1861238"/>
                    <a:pt x="8514170" y="1866449"/>
                    <a:pt x="8517296" y="1870096"/>
                  </a:cubicBezTo>
                  <a:cubicBezTo>
                    <a:pt x="8521464" y="1875828"/>
                    <a:pt x="8527718" y="1878954"/>
                    <a:pt x="8534491" y="1878954"/>
                  </a:cubicBezTo>
                  <a:cubicBezTo>
                    <a:pt x="8539181" y="1878954"/>
                    <a:pt x="8543871" y="1877391"/>
                    <a:pt x="8548039" y="1874265"/>
                  </a:cubicBezTo>
                  <a:cubicBezTo>
                    <a:pt x="8557418" y="1866970"/>
                    <a:pt x="8558981" y="1853422"/>
                    <a:pt x="8552208" y="1843522"/>
                  </a:cubicBezTo>
                  <a:close/>
                  <a:moveTo>
                    <a:pt x="1122370" y="1735662"/>
                  </a:moveTo>
                  <a:cubicBezTo>
                    <a:pt x="1112991" y="1728367"/>
                    <a:pt x="1098922" y="1729930"/>
                    <a:pt x="1092148" y="1738788"/>
                  </a:cubicBezTo>
                  <a:cubicBezTo>
                    <a:pt x="1064532" y="1772657"/>
                    <a:pt x="1036394" y="1807048"/>
                    <a:pt x="1009299" y="1841438"/>
                  </a:cubicBezTo>
                  <a:cubicBezTo>
                    <a:pt x="980641" y="1878433"/>
                    <a:pt x="954587" y="1912823"/>
                    <a:pt x="929576" y="1946693"/>
                  </a:cubicBezTo>
                  <a:cubicBezTo>
                    <a:pt x="925929" y="1950861"/>
                    <a:pt x="924887" y="1957114"/>
                    <a:pt x="925408" y="1962845"/>
                  </a:cubicBezTo>
                  <a:cubicBezTo>
                    <a:pt x="926450" y="1968577"/>
                    <a:pt x="929576" y="1973788"/>
                    <a:pt x="934266" y="1977435"/>
                  </a:cubicBezTo>
                  <a:cubicBezTo>
                    <a:pt x="937913" y="1980041"/>
                    <a:pt x="942603" y="1981604"/>
                    <a:pt x="946772" y="1981604"/>
                  </a:cubicBezTo>
                  <a:cubicBezTo>
                    <a:pt x="953545" y="1981604"/>
                    <a:pt x="960319" y="1978477"/>
                    <a:pt x="964488" y="1972746"/>
                  </a:cubicBezTo>
                  <a:cubicBezTo>
                    <a:pt x="988978" y="1939398"/>
                    <a:pt x="1015552" y="1904486"/>
                    <a:pt x="1043168" y="1868533"/>
                  </a:cubicBezTo>
                  <a:cubicBezTo>
                    <a:pt x="1070785" y="1833101"/>
                    <a:pt x="1097880" y="1798711"/>
                    <a:pt x="1124975" y="1766926"/>
                  </a:cubicBezTo>
                  <a:cubicBezTo>
                    <a:pt x="1128623" y="1762757"/>
                    <a:pt x="1130186" y="1757026"/>
                    <a:pt x="1129665" y="1750773"/>
                  </a:cubicBezTo>
                  <a:cubicBezTo>
                    <a:pt x="1129665" y="1745041"/>
                    <a:pt x="1126538" y="1739830"/>
                    <a:pt x="1122370" y="1735662"/>
                  </a:cubicBezTo>
                  <a:close/>
                  <a:moveTo>
                    <a:pt x="883202" y="2048821"/>
                  </a:moveTo>
                  <a:cubicBezTo>
                    <a:pt x="873823" y="2042047"/>
                    <a:pt x="859754" y="2044653"/>
                    <a:pt x="852980" y="2054032"/>
                  </a:cubicBezTo>
                  <a:cubicBezTo>
                    <a:pt x="849333" y="2058721"/>
                    <a:pt x="848291" y="2064453"/>
                    <a:pt x="849333" y="2070185"/>
                  </a:cubicBezTo>
                  <a:cubicBezTo>
                    <a:pt x="850375" y="2075916"/>
                    <a:pt x="853501" y="2081127"/>
                    <a:pt x="858191" y="2084774"/>
                  </a:cubicBezTo>
                  <a:cubicBezTo>
                    <a:pt x="862359" y="2086859"/>
                    <a:pt x="866528" y="2088943"/>
                    <a:pt x="870696" y="2088943"/>
                  </a:cubicBezTo>
                  <a:cubicBezTo>
                    <a:pt x="877470" y="2088943"/>
                    <a:pt x="884765" y="2085295"/>
                    <a:pt x="888412" y="2079564"/>
                  </a:cubicBezTo>
                  <a:cubicBezTo>
                    <a:pt x="895707" y="2069142"/>
                    <a:pt x="893102" y="2055074"/>
                    <a:pt x="883202" y="2048821"/>
                  </a:cubicBezTo>
                  <a:close/>
                  <a:moveTo>
                    <a:pt x="8781475" y="2165018"/>
                  </a:moveTo>
                  <a:cubicBezTo>
                    <a:pt x="8757506" y="2128544"/>
                    <a:pt x="8732495" y="2091548"/>
                    <a:pt x="8708005" y="2055595"/>
                  </a:cubicBezTo>
                  <a:cubicBezTo>
                    <a:pt x="8682994" y="2019120"/>
                    <a:pt x="8656941" y="1983167"/>
                    <a:pt x="8631409" y="1948777"/>
                  </a:cubicBezTo>
                  <a:cubicBezTo>
                    <a:pt x="8624636" y="1939398"/>
                    <a:pt x="8610046" y="1937313"/>
                    <a:pt x="8601187" y="1944608"/>
                  </a:cubicBezTo>
                  <a:cubicBezTo>
                    <a:pt x="8596498" y="1948256"/>
                    <a:pt x="8593371" y="1952945"/>
                    <a:pt x="8592329" y="1958677"/>
                  </a:cubicBezTo>
                  <a:cubicBezTo>
                    <a:pt x="8591288" y="1964930"/>
                    <a:pt x="8593371" y="1970661"/>
                    <a:pt x="8596498" y="1974830"/>
                  </a:cubicBezTo>
                  <a:cubicBezTo>
                    <a:pt x="8622551" y="2010262"/>
                    <a:pt x="8648083" y="2046216"/>
                    <a:pt x="8672052" y="2081127"/>
                  </a:cubicBezTo>
                  <a:cubicBezTo>
                    <a:pt x="8696542" y="2116559"/>
                    <a:pt x="8721032" y="2152513"/>
                    <a:pt x="8744479" y="2188987"/>
                  </a:cubicBezTo>
                  <a:cubicBezTo>
                    <a:pt x="8748648" y="2195240"/>
                    <a:pt x="8755422" y="2198887"/>
                    <a:pt x="8762717" y="2198887"/>
                  </a:cubicBezTo>
                  <a:cubicBezTo>
                    <a:pt x="8766886" y="2198887"/>
                    <a:pt x="8771054" y="2197324"/>
                    <a:pt x="8774701" y="2195240"/>
                  </a:cubicBezTo>
                  <a:cubicBezTo>
                    <a:pt x="8779391" y="2191592"/>
                    <a:pt x="8782518" y="2186903"/>
                    <a:pt x="8784081" y="2181171"/>
                  </a:cubicBezTo>
                  <a:cubicBezTo>
                    <a:pt x="8785644" y="2175439"/>
                    <a:pt x="8784601" y="2169708"/>
                    <a:pt x="8781475" y="2165018"/>
                  </a:cubicBezTo>
                  <a:close/>
                  <a:moveTo>
                    <a:pt x="8851819" y="2275483"/>
                  </a:moveTo>
                  <a:lnTo>
                    <a:pt x="8847650" y="2268710"/>
                  </a:lnTo>
                  <a:lnTo>
                    <a:pt x="8847650" y="2270273"/>
                  </a:lnTo>
                  <a:cubicBezTo>
                    <a:pt x="8840876" y="2263499"/>
                    <a:pt x="8829934" y="2262978"/>
                    <a:pt x="8821597" y="2267668"/>
                  </a:cubicBezTo>
                  <a:cubicBezTo>
                    <a:pt x="8816907" y="2270794"/>
                    <a:pt x="8813260" y="2275483"/>
                    <a:pt x="8812218" y="2281215"/>
                  </a:cubicBezTo>
                  <a:cubicBezTo>
                    <a:pt x="8810655" y="2286947"/>
                    <a:pt x="8811697" y="2292679"/>
                    <a:pt x="8814302" y="2297368"/>
                  </a:cubicBezTo>
                  <a:lnTo>
                    <a:pt x="8814823" y="2297889"/>
                  </a:lnTo>
                  <a:cubicBezTo>
                    <a:pt x="8818992" y="2304663"/>
                    <a:pt x="8825766" y="2308311"/>
                    <a:pt x="8833582" y="2308311"/>
                  </a:cubicBezTo>
                  <a:cubicBezTo>
                    <a:pt x="8837750" y="2308311"/>
                    <a:pt x="8841397" y="2306747"/>
                    <a:pt x="8845045" y="2305184"/>
                  </a:cubicBezTo>
                  <a:cubicBezTo>
                    <a:pt x="8854945" y="2299453"/>
                    <a:pt x="8858072" y="2285905"/>
                    <a:pt x="8851819" y="2275483"/>
                  </a:cubicBezTo>
                  <a:close/>
                  <a:moveTo>
                    <a:pt x="809732" y="2156681"/>
                  </a:moveTo>
                  <a:cubicBezTo>
                    <a:pt x="799832" y="2149907"/>
                    <a:pt x="785763" y="2153034"/>
                    <a:pt x="779510" y="2162934"/>
                  </a:cubicBezTo>
                  <a:cubicBezTo>
                    <a:pt x="756584" y="2198366"/>
                    <a:pt x="732615" y="2235362"/>
                    <a:pt x="709167" y="2274442"/>
                  </a:cubicBezTo>
                  <a:cubicBezTo>
                    <a:pt x="686761" y="2310916"/>
                    <a:pt x="663834" y="2348954"/>
                    <a:pt x="641429" y="2387512"/>
                  </a:cubicBezTo>
                  <a:cubicBezTo>
                    <a:pt x="638302" y="2392723"/>
                    <a:pt x="637260" y="2398454"/>
                    <a:pt x="639344" y="2404186"/>
                  </a:cubicBezTo>
                  <a:cubicBezTo>
                    <a:pt x="640908" y="2409918"/>
                    <a:pt x="644555" y="2414607"/>
                    <a:pt x="649245" y="2417734"/>
                  </a:cubicBezTo>
                  <a:cubicBezTo>
                    <a:pt x="652892" y="2419297"/>
                    <a:pt x="656539" y="2420339"/>
                    <a:pt x="660187" y="2420339"/>
                  </a:cubicBezTo>
                  <a:cubicBezTo>
                    <a:pt x="668003" y="2420339"/>
                    <a:pt x="675298" y="2416171"/>
                    <a:pt x="679466" y="2409397"/>
                  </a:cubicBezTo>
                  <a:cubicBezTo>
                    <a:pt x="699788" y="2373965"/>
                    <a:pt x="722714" y="2335927"/>
                    <a:pt x="746683" y="2297368"/>
                  </a:cubicBezTo>
                  <a:cubicBezTo>
                    <a:pt x="770131" y="2259331"/>
                    <a:pt x="793579" y="2222335"/>
                    <a:pt x="816506" y="2187424"/>
                  </a:cubicBezTo>
                  <a:cubicBezTo>
                    <a:pt x="822238" y="2177003"/>
                    <a:pt x="819632" y="2163455"/>
                    <a:pt x="809732" y="2156681"/>
                  </a:cubicBezTo>
                  <a:close/>
                  <a:moveTo>
                    <a:pt x="605996" y="2494330"/>
                  </a:moveTo>
                  <a:cubicBezTo>
                    <a:pt x="595575" y="2488598"/>
                    <a:pt x="581506" y="2492767"/>
                    <a:pt x="576296" y="2503188"/>
                  </a:cubicBezTo>
                  <a:cubicBezTo>
                    <a:pt x="573169" y="2508399"/>
                    <a:pt x="572648" y="2514131"/>
                    <a:pt x="574733" y="2519862"/>
                  </a:cubicBezTo>
                  <a:cubicBezTo>
                    <a:pt x="576296" y="2525594"/>
                    <a:pt x="579943" y="2529762"/>
                    <a:pt x="585154" y="2532889"/>
                  </a:cubicBezTo>
                  <a:cubicBezTo>
                    <a:pt x="588280" y="2534452"/>
                    <a:pt x="591928" y="2535494"/>
                    <a:pt x="595575" y="2535494"/>
                  </a:cubicBezTo>
                  <a:cubicBezTo>
                    <a:pt x="603391" y="2535494"/>
                    <a:pt x="610686" y="2531326"/>
                    <a:pt x="614854" y="2523510"/>
                  </a:cubicBezTo>
                  <a:cubicBezTo>
                    <a:pt x="620586" y="2512567"/>
                    <a:pt x="616418" y="2499541"/>
                    <a:pt x="605996" y="2494330"/>
                  </a:cubicBezTo>
                  <a:close/>
                  <a:moveTo>
                    <a:pt x="9044612" y="2619385"/>
                  </a:moveTo>
                  <a:cubicBezTo>
                    <a:pt x="9025854" y="2582390"/>
                    <a:pt x="9006574" y="2544352"/>
                    <a:pt x="8984169" y="2504230"/>
                  </a:cubicBezTo>
                  <a:cubicBezTo>
                    <a:pt x="8984169" y="2503709"/>
                    <a:pt x="8983648" y="2503188"/>
                    <a:pt x="8983648" y="2502667"/>
                  </a:cubicBezTo>
                  <a:cubicBezTo>
                    <a:pt x="8962284" y="2463587"/>
                    <a:pt x="8940400" y="2425029"/>
                    <a:pt x="8919036" y="2388033"/>
                  </a:cubicBezTo>
                  <a:cubicBezTo>
                    <a:pt x="8913304" y="2378133"/>
                    <a:pt x="8899235" y="2374486"/>
                    <a:pt x="8889335" y="2380217"/>
                  </a:cubicBezTo>
                  <a:cubicBezTo>
                    <a:pt x="8878914" y="2386470"/>
                    <a:pt x="8875267" y="2399497"/>
                    <a:pt x="8880998" y="2409918"/>
                  </a:cubicBezTo>
                  <a:cubicBezTo>
                    <a:pt x="8902883" y="2447435"/>
                    <a:pt x="8924247" y="2484951"/>
                    <a:pt x="8945089" y="2523510"/>
                  </a:cubicBezTo>
                  <a:cubicBezTo>
                    <a:pt x="8965410" y="2561026"/>
                    <a:pt x="8985732" y="2599585"/>
                    <a:pt x="9005532" y="2638665"/>
                  </a:cubicBezTo>
                  <a:cubicBezTo>
                    <a:pt x="9009701" y="2645960"/>
                    <a:pt x="9016996" y="2650649"/>
                    <a:pt x="9025332" y="2650649"/>
                  </a:cubicBezTo>
                  <a:cubicBezTo>
                    <a:pt x="9028459" y="2650649"/>
                    <a:pt x="9032106" y="2650128"/>
                    <a:pt x="9034712" y="2648565"/>
                  </a:cubicBezTo>
                  <a:cubicBezTo>
                    <a:pt x="9045654" y="2642833"/>
                    <a:pt x="9049822" y="2629807"/>
                    <a:pt x="9044612" y="2619385"/>
                  </a:cubicBezTo>
                  <a:close/>
                  <a:moveTo>
                    <a:pt x="9102450" y="2737146"/>
                  </a:moveTo>
                  <a:cubicBezTo>
                    <a:pt x="9097760" y="2726724"/>
                    <a:pt x="9084213" y="2722035"/>
                    <a:pt x="9073271" y="2726724"/>
                  </a:cubicBezTo>
                  <a:cubicBezTo>
                    <a:pt x="9068060" y="2729330"/>
                    <a:pt x="9063891" y="2733498"/>
                    <a:pt x="9062328" y="2738709"/>
                  </a:cubicBezTo>
                  <a:cubicBezTo>
                    <a:pt x="9060244" y="2744440"/>
                    <a:pt x="9060765" y="2750693"/>
                    <a:pt x="9062849" y="2755904"/>
                  </a:cubicBezTo>
                  <a:lnTo>
                    <a:pt x="9063891" y="2757467"/>
                  </a:lnTo>
                  <a:cubicBezTo>
                    <a:pt x="9068060" y="2764241"/>
                    <a:pt x="9075355" y="2768410"/>
                    <a:pt x="9083170" y="2768410"/>
                  </a:cubicBezTo>
                  <a:cubicBezTo>
                    <a:pt x="9086297" y="2768410"/>
                    <a:pt x="9089424" y="2767888"/>
                    <a:pt x="9092550" y="2766325"/>
                  </a:cubicBezTo>
                  <a:cubicBezTo>
                    <a:pt x="9102971" y="2761115"/>
                    <a:pt x="9107660" y="2748088"/>
                    <a:pt x="9102450" y="2737146"/>
                  </a:cubicBezTo>
                  <a:close/>
                  <a:moveTo>
                    <a:pt x="544511" y="2610006"/>
                  </a:moveTo>
                  <a:cubicBezTo>
                    <a:pt x="534090" y="2604796"/>
                    <a:pt x="520542" y="2608964"/>
                    <a:pt x="515331" y="2619385"/>
                  </a:cubicBezTo>
                  <a:cubicBezTo>
                    <a:pt x="493968" y="2661592"/>
                    <a:pt x="474688" y="2700671"/>
                    <a:pt x="456972" y="2738188"/>
                  </a:cubicBezTo>
                  <a:cubicBezTo>
                    <a:pt x="437693" y="2778831"/>
                    <a:pt x="418935" y="2819474"/>
                    <a:pt x="402261" y="2858032"/>
                  </a:cubicBezTo>
                  <a:cubicBezTo>
                    <a:pt x="397571" y="2868975"/>
                    <a:pt x="402782" y="2882001"/>
                    <a:pt x="413724" y="2886691"/>
                  </a:cubicBezTo>
                  <a:cubicBezTo>
                    <a:pt x="416329" y="2887733"/>
                    <a:pt x="419456" y="2888254"/>
                    <a:pt x="422582" y="2888254"/>
                  </a:cubicBezTo>
                  <a:cubicBezTo>
                    <a:pt x="431440" y="2888254"/>
                    <a:pt x="439256" y="2883043"/>
                    <a:pt x="442383" y="2875227"/>
                  </a:cubicBezTo>
                  <a:cubicBezTo>
                    <a:pt x="459057" y="2837190"/>
                    <a:pt x="476773" y="2798110"/>
                    <a:pt x="496573" y="2755904"/>
                  </a:cubicBezTo>
                  <a:cubicBezTo>
                    <a:pt x="516373" y="2713698"/>
                    <a:pt x="535132" y="2675660"/>
                    <a:pt x="553890" y="2638665"/>
                  </a:cubicBezTo>
                  <a:cubicBezTo>
                    <a:pt x="559101" y="2628765"/>
                    <a:pt x="554932" y="2615217"/>
                    <a:pt x="544511" y="2610006"/>
                  </a:cubicBezTo>
                  <a:close/>
                  <a:moveTo>
                    <a:pt x="378813" y="2967977"/>
                  </a:moveTo>
                  <a:cubicBezTo>
                    <a:pt x="369434" y="2963808"/>
                    <a:pt x="357449" y="2967977"/>
                    <a:pt x="352239" y="2977356"/>
                  </a:cubicBezTo>
                  <a:lnTo>
                    <a:pt x="351718" y="2976835"/>
                  </a:lnTo>
                  <a:lnTo>
                    <a:pt x="350154" y="2979961"/>
                  </a:lnTo>
                  <a:cubicBezTo>
                    <a:pt x="345986" y="2991425"/>
                    <a:pt x="351197" y="3003930"/>
                    <a:pt x="362139" y="3008620"/>
                  </a:cubicBezTo>
                  <a:cubicBezTo>
                    <a:pt x="364744" y="3009662"/>
                    <a:pt x="367349" y="3010183"/>
                    <a:pt x="369955" y="3010183"/>
                  </a:cubicBezTo>
                  <a:cubicBezTo>
                    <a:pt x="379334" y="3010183"/>
                    <a:pt x="387150" y="3004972"/>
                    <a:pt x="390276" y="2996635"/>
                  </a:cubicBezTo>
                  <a:cubicBezTo>
                    <a:pt x="395487" y="2985172"/>
                    <a:pt x="390276" y="2972145"/>
                    <a:pt x="378813" y="2967977"/>
                  </a:cubicBezTo>
                  <a:close/>
                  <a:moveTo>
                    <a:pt x="9256164" y="3100327"/>
                  </a:moveTo>
                  <a:cubicBezTo>
                    <a:pt x="9241052" y="3059684"/>
                    <a:pt x="9224900" y="3018520"/>
                    <a:pt x="9208226" y="2977877"/>
                  </a:cubicBezTo>
                  <a:cubicBezTo>
                    <a:pt x="9192073" y="2937755"/>
                    <a:pt x="9174878" y="2897633"/>
                    <a:pt x="9156640" y="2856990"/>
                  </a:cubicBezTo>
                  <a:cubicBezTo>
                    <a:pt x="9151951" y="2846569"/>
                    <a:pt x="9138924" y="2841358"/>
                    <a:pt x="9127982" y="2846048"/>
                  </a:cubicBezTo>
                  <a:cubicBezTo>
                    <a:pt x="9117040" y="2850737"/>
                    <a:pt x="9112351" y="2863764"/>
                    <a:pt x="9117040" y="2874706"/>
                  </a:cubicBezTo>
                  <a:cubicBezTo>
                    <a:pt x="9135798" y="2917434"/>
                    <a:pt x="9152472" y="2956513"/>
                    <a:pt x="9167583" y="2994551"/>
                  </a:cubicBezTo>
                  <a:cubicBezTo>
                    <a:pt x="9184257" y="3035194"/>
                    <a:pt x="9200410" y="3075837"/>
                    <a:pt x="9215521" y="3115959"/>
                  </a:cubicBezTo>
                  <a:cubicBezTo>
                    <a:pt x="9218647" y="3124817"/>
                    <a:pt x="9226984" y="3130549"/>
                    <a:pt x="9235321" y="3130549"/>
                  </a:cubicBezTo>
                  <a:cubicBezTo>
                    <a:pt x="9237926" y="3130549"/>
                    <a:pt x="9240532" y="3130027"/>
                    <a:pt x="9243137" y="3128985"/>
                  </a:cubicBezTo>
                  <a:cubicBezTo>
                    <a:pt x="9254601" y="3123775"/>
                    <a:pt x="9260332" y="3111269"/>
                    <a:pt x="9256164" y="3100327"/>
                  </a:cubicBezTo>
                  <a:close/>
                  <a:moveTo>
                    <a:pt x="9300975" y="3224340"/>
                  </a:moveTo>
                  <a:cubicBezTo>
                    <a:pt x="9296807" y="3213397"/>
                    <a:pt x="9283780" y="3207145"/>
                    <a:pt x="9273359" y="3210792"/>
                  </a:cubicBezTo>
                  <a:cubicBezTo>
                    <a:pt x="9267627" y="3212355"/>
                    <a:pt x="9263459" y="3216524"/>
                    <a:pt x="9260853" y="3221735"/>
                  </a:cubicBezTo>
                  <a:cubicBezTo>
                    <a:pt x="9258769" y="3226945"/>
                    <a:pt x="9258248" y="3233198"/>
                    <a:pt x="9259811" y="3238930"/>
                  </a:cubicBezTo>
                  <a:cubicBezTo>
                    <a:pt x="9262938" y="3247788"/>
                    <a:pt x="9271274" y="3253519"/>
                    <a:pt x="9280132" y="3253519"/>
                  </a:cubicBezTo>
                  <a:cubicBezTo>
                    <a:pt x="9282738" y="3253519"/>
                    <a:pt x="9284822" y="3252998"/>
                    <a:pt x="9286906" y="3252477"/>
                  </a:cubicBezTo>
                  <a:cubicBezTo>
                    <a:pt x="9292638" y="3250393"/>
                    <a:pt x="9296807" y="3246224"/>
                    <a:pt x="9299412" y="3241014"/>
                  </a:cubicBezTo>
                  <a:cubicBezTo>
                    <a:pt x="9302017" y="3235803"/>
                    <a:pt x="9302538" y="3229550"/>
                    <a:pt x="9300975" y="3224340"/>
                  </a:cubicBezTo>
                  <a:close/>
                  <a:moveTo>
                    <a:pt x="342859" y="3101369"/>
                  </a:moveTo>
                  <a:cubicBezTo>
                    <a:pt x="340254" y="3096158"/>
                    <a:pt x="336086" y="3091990"/>
                    <a:pt x="330875" y="3089905"/>
                  </a:cubicBezTo>
                  <a:cubicBezTo>
                    <a:pt x="319933" y="3085737"/>
                    <a:pt x="306906" y="3091469"/>
                    <a:pt x="303259" y="3102411"/>
                  </a:cubicBezTo>
                  <a:cubicBezTo>
                    <a:pt x="288669" y="3142012"/>
                    <a:pt x="273037" y="3183697"/>
                    <a:pt x="258447" y="3226945"/>
                  </a:cubicBezTo>
                  <a:lnTo>
                    <a:pt x="257926" y="3227987"/>
                  </a:lnTo>
                  <a:cubicBezTo>
                    <a:pt x="243858" y="3269151"/>
                    <a:pt x="230310" y="3310836"/>
                    <a:pt x="217283" y="3352521"/>
                  </a:cubicBezTo>
                  <a:cubicBezTo>
                    <a:pt x="215720" y="3358253"/>
                    <a:pt x="216241" y="3364506"/>
                    <a:pt x="218846" y="3369716"/>
                  </a:cubicBezTo>
                  <a:cubicBezTo>
                    <a:pt x="221452" y="3374406"/>
                    <a:pt x="225620" y="3378574"/>
                    <a:pt x="231352" y="3380138"/>
                  </a:cubicBezTo>
                  <a:cubicBezTo>
                    <a:pt x="233436" y="3381180"/>
                    <a:pt x="235520" y="3381180"/>
                    <a:pt x="238126" y="3381180"/>
                  </a:cubicBezTo>
                  <a:cubicBezTo>
                    <a:pt x="244900" y="3381180"/>
                    <a:pt x="250631" y="3378574"/>
                    <a:pt x="254800" y="3373885"/>
                  </a:cubicBezTo>
                  <a:lnTo>
                    <a:pt x="254800" y="3380138"/>
                  </a:lnTo>
                  <a:lnTo>
                    <a:pt x="258968" y="3366069"/>
                  </a:lnTo>
                  <a:cubicBezTo>
                    <a:pt x="271995" y="3324905"/>
                    <a:pt x="285543" y="3283220"/>
                    <a:pt x="299611" y="3241535"/>
                  </a:cubicBezTo>
                  <a:cubicBezTo>
                    <a:pt x="314201" y="3199329"/>
                    <a:pt x="328791" y="3158165"/>
                    <a:pt x="343381" y="3118564"/>
                  </a:cubicBezTo>
                  <a:cubicBezTo>
                    <a:pt x="345465" y="3112311"/>
                    <a:pt x="344944" y="3106579"/>
                    <a:pt x="342859" y="3101369"/>
                  </a:cubicBezTo>
                  <a:close/>
                  <a:moveTo>
                    <a:pt x="219368" y="3474450"/>
                  </a:moveTo>
                  <a:cubicBezTo>
                    <a:pt x="216241" y="3469240"/>
                    <a:pt x="212073" y="3465592"/>
                    <a:pt x="206341" y="3464029"/>
                  </a:cubicBezTo>
                  <a:cubicBezTo>
                    <a:pt x="194357" y="3460902"/>
                    <a:pt x="182372" y="3468197"/>
                    <a:pt x="179246" y="3479140"/>
                  </a:cubicBezTo>
                  <a:cubicBezTo>
                    <a:pt x="177682" y="3484351"/>
                    <a:pt x="178204" y="3490603"/>
                    <a:pt x="181330" y="3495814"/>
                  </a:cubicBezTo>
                  <a:cubicBezTo>
                    <a:pt x="183935" y="3500503"/>
                    <a:pt x="188625" y="3504672"/>
                    <a:pt x="194357" y="3506235"/>
                  </a:cubicBezTo>
                  <a:cubicBezTo>
                    <a:pt x="195920" y="3506756"/>
                    <a:pt x="198525" y="3506756"/>
                    <a:pt x="200088" y="3506756"/>
                  </a:cubicBezTo>
                  <a:cubicBezTo>
                    <a:pt x="209467" y="3506756"/>
                    <a:pt x="218325" y="3499982"/>
                    <a:pt x="221452" y="3491124"/>
                  </a:cubicBezTo>
                  <a:lnTo>
                    <a:pt x="221973" y="3487998"/>
                  </a:lnTo>
                  <a:cubicBezTo>
                    <a:pt x="222494" y="3483308"/>
                    <a:pt x="221452" y="3478619"/>
                    <a:pt x="219368" y="3474450"/>
                  </a:cubicBezTo>
                  <a:close/>
                  <a:moveTo>
                    <a:pt x="9413525" y="3602632"/>
                  </a:moveTo>
                  <a:cubicBezTo>
                    <a:pt x="9402582" y="3559383"/>
                    <a:pt x="9391119" y="3516656"/>
                    <a:pt x="9379655" y="3475492"/>
                  </a:cubicBezTo>
                  <a:cubicBezTo>
                    <a:pt x="9366629" y="3429118"/>
                    <a:pt x="9354124" y="3387954"/>
                    <a:pt x="9341618" y="3349395"/>
                  </a:cubicBezTo>
                  <a:cubicBezTo>
                    <a:pt x="9337970" y="3337932"/>
                    <a:pt x="9325465" y="3331679"/>
                    <a:pt x="9314002" y="3334805"/>
                  </a:cubicBezTo>
                  <a:cubicBezTo>
                    <a:pt x="9308791" y="3336368"/>
                    <a:pt x="9304101" y="3340537"/>
                    <a:pt x="9301496" y="3345226"/>
                  </a:cubicBezTo>
                  <a:cubicBezTo>
                    <a:pt x="9298890" y="3350437"/>
                    <a:pt x="9298370" y="3356690"/>
                    <a:pt x="9299933" y="3361900"/>
                  </a:cubicBezTo>
                  <a:cubicBezTo>
                    <a:pt x="9311917" y="3401501"/>
                    <a:pt x="9324944" y="3443707"/>
                    <a:pt x="9336929" y="3486956"/>
                  </a:cubicBezTo>
                  <a:cubicBezTo>
                    <a:pt x="9348913" y="3527599"/>
                    <a:pt x="9359856" y="3569805"/>
                    <a:pt x="9370797" y="3613053"/>
                  </a:cubicBezTo>
                  <a:cubicBezTo>
                    <a:pt x="9373403" y="3622432"/>
                    <a:pt x="9382261" y="3629206"/>
                    <a:pt x="9391640" y="3629206"/>
                  </a:cubicBezTo>
                  <a:cubicBezTo>
                    <a:pt x="9393724" y="3629206"/>
                    <a:pt x="9395808" y="3629206"/>
                    <a:pt x="9397371" y="3628685"/>
                  </a:cubicBezTo>
                  <a:cubicBezTo>
                    <a:pt x="9408835" y="3626079"/>
                    <a:pt x="9416651" y="3614095"/>
                    <a:pt x="9413525" y="3602632"/>
                  </a:cubicBezTo>
                  <a:close/>
                  <a:moveTo>
                    <a:pt x="9443747" y="3730292"/>
                  </a:moveTo>
                  <a:lnTo>
                    <a:pt x="9439578" y="3711013"/>
                  </a:lnTo>
                  <a:lnTo>
                    <a:pt x="9439578" y="3721434"/>
                  </a:lnTo>
                  <a:cubicBezTo>
                    <a:pt x="9434888" y="3715182"/>
                    <a:pt x="9426030" y="3712055"/>
                    <a:pt x="9417694" y="3714139"/>
                  </a:cubicBezTo>
                  <a:cubicBezTo>
                    <a:pt x="9411962" y="3715702"/>
                    <a:pt x="9407272" y="3718829"/>
                    <a:pt x="9404145" y="3723518"/>
                  </a:cubicBezTo>
                  <a:cubicBezTo>
                    <a:pt x="9401540" y="3727687"/>
                    <a:pt x="9400498" y="3732376"/>
                    <a:pt x="9401019" y="3737066"/>
                  </a:cubicBezTo>
                  <a:lnTo>
                    <a:pt x="9400498" y="3737066"/>
                  </a:lnTo>
                  <a:lnTo>
                    <a:pt x="9401019" y="3739671"/>
                  </a:lnTo>
                  <a:cubicBezTo>
                    <a:pt x="9403103" y="3749572"/>
                    <a:pt x="9412483" y="3756866"/>
                    <a:pt x="9422383" y="3756866"/>
                  </a:cubicBezTo>
                  <a:cubicBezTo>
                    <a:pt x="9423946" y="3756866"/>
                    <a:pt x="9426030" y="3756866"/>
                    <a:pt x="9427072" y="3756345"/>
                  </a:cubicBezTo>
                  <a:cubicBezTo>
                    <a:pt x="9439057" y="3753740"/>
                    <a:pt x="9446351" y="3742277"/>
                    <a:pt x="9443747" y="3730292"/>
                  </a:cubicBezTo>
                  <a:close/>
                  <a:moveTo>
                    <a:pt x="185498" y="3600547"/>
                  </a:moveTo>
                  <a:cubicBezTo>
                    <a:pt x="182372" y="3595337"/>
                    <a:pt x="177682" y="3591689"/>
                    <a:pt x="171951" y="3590648"/>
                  </a:cubicBezTo>
                  <a:cubicBezTo>
                    <a:pt x="159966" y="3587521"/>
                    <a:pt x="148503" y="3594816"/>
                    <a:pt x="145377" y="3606279"/>
                  </a:cubicBezTo>
                  <a:cubicBezTo>
                    <a:pt x="134434" y="3649528"/>
                    <a:pt x="124013" y="3692776"/>
                    <a:pt x="115155" y="3734461"/>
                  </a:cubicBezTo>
                  <a:cubicBezTo>
                    <a:pt x="105776" y="3775104"/>
                    <a:pt x="97439" y="3817310"/>
                    <a:pt x="88060" y="3863163"/>
                  </a:cubicBezTo>
                  <a:cubicBezTo>
                    <a:pt x="87018" y="3868895"/>
                    <a:pt x="88060" y="3874627"/>
                    <a:pt x="91707" y="3879316"/>
                  </a:cubicBezTo>
                  <a:cubicBezTo>
                    <a:pt x="94833" y="3884527"/>
                    <a:pt x="100044" y="3887653"/>
                    <a:pt x="105776" y="3888695"/>
                  </a:cubicBezTo>
                  <a:cubicBezTo>
                    <a:pt x="107339" y="3888695"/>
                    <a:pt x="108381" y="3889217"/>
                    <a:pt x="109944" y="3889217"/>
                  </a:cubicBezTo>
                  <a:cubicBezTo>
                    <a:pt x="120366" y="3889217"/>
                    <a:pt x="129745" y="3881922"/>
                    <a:pt x="131308" y="3871501"/>
                  </a:cubicBezTo>
                  <a:cubicBezTo>
                    <a:pt x="140166" y="3828252"/>
                    <a:pt x="148503" y="3786046"/>
                    <a:pt x="158403" y="3743840"/>
                  </a:cubicBezTo>
                  <a:cubicBezTo>
                    <a:pt x="167782" y="3700592"/>
                    <a:pt x="178204" y="3657864"/>
                    <a:pt x="188625" y="3617221"/>
                  </a:cubicBezTo>
                  <a:cubicBezTo>
                    <a:pt x="188625" y="3611490"/>
                    <a:pt x="188104" y="3605237"/>
                    <a:pt x="185498" y="3600547"/>
                  </a:cubicBezTo>
                  <a:close/>
                  <a:moveTo>
                    <a:pt x="104213" y="3983529"/>
                  </a:moveTo>
                  <a:cubicBezTo>
                    <a:pt x="100565" y="3978840"/>
                    <a:pt x="95355" y="3975713"/>
                    <a:pt x="89623" y="3974671"/>
                  </a:cubicBezTo>
                  <a:cubicBezTo>
                    <a:pt x="77638" y="3972587"/>
                    <a:pt x="66696" y="3980924"/>
                    <a:pt x="64612" y="3992387"/>
                  </a:cubicBezTo>
                  <a:cubicBezTo>
                    <a:pt x="63570" y="3998119"/>
                    <a:pt x="65133" y="4003850"/>
                    <a:pt x="68259" y="4008540"/>
                  </a:cubicBezTo>
                  <a:cubicBezTo>
                    <a:pt x="71907" y="4013230"/>
                    <a:pt x="77117" y="4016356"/>
                    <a:pt x="82849" y="4017398"/>
                  </a:cubicBezTo>
                  <a:cubicBezTo>
                    <a:pt x="84412" y="4017919"/>
                    <a:pt x="84933" y="4017919"/>
                    <a:pt x="86496" y="4017919"/>
                  </a:cubicBezTo>
                  <a:cubicBezTo>
                    <a:pt x="97439" y="4017919"/>
                    <a:pt x="106297" y="4010624"/>
                    <a:pt x="107860" y="3999682"/>
                  </a:cubicBezTo>
                  <a:lnTo>
                    <a:pt x="108381" y="3997077"/>
                  </a:lnTo>
                  <a:cubicBezTo>
                    <a:pt x="107860" y="3992387"/>
                    <a:pt x="106818" y="3987698"/>
                    <a:pt x="104213" y="3983529"/>
                  </a:cubicBezTo>
                  <a:close/>
                  <a:moveTo>
                    <a:pt x="9494289" y="3989261"/>
                  </a:moveTo>
                  <a:cubicBezTo>
                    <a:pt x="9486994" y="3946013"/>
                    <a:pt x="9479179" y="3902764"/>
                    <a:pt x="9470841" y="3859516"/>
                  </a:cubicBezTo>
                  <a:cubicBezTo>
                    <a:pt x="9468757" y="3847531"/>
                    <a:pt x="9457294" y="3839716"/>
                    <a:pt x="9445310" y="3842321"/>
                  </a:cubicBezTo>
                  <a:cubicBezTo>
                    <a:pt x="9439578" y="3843884"/>
                    <a:pt x="9434888" y="3846489"/>
                    <a:pt x="9431762" y="3851700"/>
                  </a:cubicBezTo>
                  <a:cubicBezTo>
                    <a:pt x="9429156" y="3855347"/>
                    <a:pt x="9427593" y="3858995"/>
                    <a:pt x="9427593" y="3863685"/>
                  </a:cubicBezTo>
                  <a:lnTo>
                    <a:pt x="9427593" y="3865248"/>
                  </a:lnTo>
                  <a:lnTo>
                    <a:pt x="9428115" y="3867853"/>
                  </a:lnTo>
                  <a:cubicBezTo>
                    <a:pt x="9435930" y="3908496"/>
                    <a:pt x="9443225" y="3949660"/>
                    <a:pt x="9451042" y="3993950"/>
                  </a:cubicBezTo>
                  <a:lnTo>
                    <a:pt x="9451042" y="3996035"/>
                  </a:lnTo>
                  <a:lnTo>
                    <a:pt x="9451562" y="3997077"/>
                  </a:lnTo>
                  <a:cubicBezTo>
                    <a:pt x="9458336" y="4039804"/>
                    <a:pt x="9465110" y="4082531"/>
                    <a:pt x="9470841" y="4125258"/>
                  </a:cubicBezTo>
                  <a:cubicBezTo>
                    <a:pt x="9472405" y="4135680"/>
                    <a:pt x="9481784" y="4144017"/>
                    <a:pt x="9492726" y="4144017"/>
                  </a:cubicBezTo>
                  <a:cubicBezTo>
                    <a:pt x="9493768" y="4144017"/>
                    <a:pt x="9494811" y="4144017"/>
                    <a:pt x="9495853" y="4143495"/>
                  </a:cubicBezTo>
                  <a:cubicBezTo>
                    <a:pt x="9507837" y="4141932"/>
                    <a:pt x="9515653" y="4130990"/>
                    <a:pt x="9514090" y="4119006"/>
                  </a:cubicBezTo>
                  <a:cubicBezTo>
                    <a:pt x="9507837" y="4073673"/>
                    <a:pt x="9501584" y="4030946"/>
                    <a:pt x="9494289" y="3989261"/>
                  </a:cubicBezTo>
                  <a:close/>
                  <a:moveTo>
                    <a:pt x="9506274" y="4231034"/>
                  </a:moveTo>
                  <a:cubicBezTo>
                    <a:pt x="9494289" y="4232598"/>
                    <a:pt x="9485953" y="4243019"/>
                    <a:pt x="9486994" y="4255003"/>
                  </a:cubicBezTo>
                  <a:cubicBezTo>
                    <a:pt x="9488557" y="4266466"/>
                    <a:pt x="9497416" y="4274804"/>
                    <a:pt x="9508880" y="4274804"/>
                  </a:cubicBezTo>
                  <a:lnTo>
                    <a:pt x="9510963" y="4274804"/>
                  </a:lnTo>
                  <a:cubicBezTo>
                    <a:pt x="9522948" y="4273241"/>
                    <a:pt x="9531806" y="4262819"/>
                    <a:pt x="9530764" y="4250314"/>
                  </a:cubicBezTo>
                  <a:cubicBezTo>
                    <a:pt x="9529201" y="4238329"/>
                    <a:pt x="9518779" y="4229471"/>
                    <a:pt x="9506274" y="4231034"/>
                  </a:cubicBezTo>
                  <a:close/>
                  <a:moveTo>
                    <a:pt x="69822" y="4104416"/>
                  </a:moveTo>
                  <a:cubicBezTo>
                    <a:pt x="57838" y="4102332"/>
                    <a:pt x="46896" y="4111190"/>
                    <a:pt x="44811" y="4122653"/>
                  </a:cubicBezTo>
                  <a:cubicBezTo>
                    <a:pt x="39080" y="4164859"/>
                    <a:pt x="33348" y="4208628"/>
                    <a:pt x="28658" y="4253440"/>
                  </a:cubicBezTo>
                  <a:cubicBezTo>
                    <a:pt x="23969" y="4297209"/>
                    <a:pt x="19800" y="4341500"/>
                    <a:pt x="16674" y="4384227"/>
                  </a:cubicBezTo>
                  <a:cubicBezTo>
                    <a:pt x="15632" y="4389959"/>
                    <a:pt x="17716" y="4395690"/>
                    <a:pt x="21364" y="4399859"/>
                  </a:cubicBezTo>
                  <a:cubicBezTo>
                    <a:pt x="25532" y="4404027"/>
                    <a:pt x="30743" y="4407154"/>
                    <a:pt x="35953" y="4407675"/>
                  </a:cubicBezTo>
                  <a:lnTo>
                    <a:pt x="37517" y="4407675"/>
                  </a:lnTo>
                  <a:cubicBezTo>
                    <a:pt x="48980" y="4407675"/>
                    <a:pt x="58359" y="4398817"/>
                    <a:pt x="59401" y="4387874"/>
                  </a:cubicBezTo>
                  <a:cubicBezTo>
                    <a:pt x="63049" y="4344626"/>
                    <a:pt x="67217" y="4300857"/>
                    <a:pt x="71907" y="4258130"/>
                  </a:cubicBezTo>
                  <a:cubicBezTo>
                    <a:pt x="77117" y="4210713"/>
                    <a:pt x="82328" y="4168507"/>
                    <a:pt x="87539" y="4128385"/>
                  </a:cubicBezTo>
                  <a:cubicBezTo>
                    <a:pt x="89623" y="4117442"/>
                    <a:pt x="81286" y="4105979"/>
                    <a:pt x="69822" y="4104416"/>
                  </a:cubicBezTo>
                  <a:close/>
                  <a:moveTo>
                    <a:pt x="30222" y="4495734"/>
                  </a:moveTo>
                  <a:cubicBezTo>
                    <a:pt x="18237" y="4495213"/>
                    <a:pt x="7816" y="4504072"/>
                    <a:pt x="7295" y="4516056"/>
                  </a:cubicBezTo>
                  <a:cubicBezTo>
                    <a:pt x="6253" y="4528040"/>
                    <a:pt x="16153" y="4538462"/>
                    <a:pt x="27616" y="4538983"/>
                  </a:cubicBezTo>
                  <a:lnTo>
                    <a:pt x="29180" y="4538983"/>
                  </a:lnTo>
                  <a:cubicBezTo>
                    <a:pt x="40643" y="4538983"/>
                    <a:pt x="50022" y="4529604"/>
                    <a:pt x="51064" y="4518140"/>
                  </a:cubicBezTo>
                  <a:cubicBezTo>
                    <a:pt x="51585" y="4506677"/>
                    <a:pt x="42206" y="4496256"/>
                    <a:pt x="30222" y="4495734"/>
                  </a:cubicBezTo>
                  <a:close/>
                  <a:moveTo>
                    <a:pt x="9552127" y="4512930"/>
                  </a:moveTo>
                  <a:cubicBezTo>
                    <a:pt x="9549522" y="4468118"/>
                    <a:pt x="9546395" y="4424349"/>
                    <a:pt x="9542748" y="4381621"/>
                  </a:cubicBezTo>
                  <a:cubicBezTo>
                    <a:pt x="9541706" y="4369637"/>
                    <a:pt x="9530764" y="4360779"/>
                    <a:pt x="9519301" y="4361821"/>
                  </a:cubicBezTo>
                  <a:cubicBezTo>
                    <a:pt x="9513047" y="4362342"/>
                    <a:pt x="9507837" y="4364947"/>
                    <a:pt x="9504711" y="4369116"/>
                  </a:cubicBezTo>
                  <a:cubicBezTo>
                    <a:pt x="9500542" y="4373285"/>
                    <a:pt x="9498979" y="4379016"/>
                    <a:pt x="9499500" y="4385269"/>
                  </a:cubicBezTo>
                  <a:cubicBezTo>
                    <a:pt x="9503148" y="4426433"/>
                    <a:pt x="9506274" y="4470202"/>
                    <a:pt x="9508880" y="4515535"/>
                  </a:cubicBezTo>
                  <a:cubicBezTo>
                    <a:pt x="9510963" y="4557741"/>
                    <a:pt x="9513047" y="4601510"/>
                    <a:pt x="9514090" y="4645801"/>
                  </a:cubicBezTo>
                  <a:cubicBezTo>
                    <a:pt x="9514610" y="4657785"/>
                    <a:pt x="9523990" y="4666643"/>
                    <a:pt x="9535974" y="4666643"/>
                  </a:cubicBezTo>
                  <a:lnTo>
                    <a:pt x="9537017" y="4666643"/>
                  </a:lnTo>
                  <a:cubicBezTo>
                    <a:pt x="9549001" y="4666122"/>
                    <a:pt x="9558380" y="4656222"/>
                    <a:pt x="9557859" y="4644237"/>
                  </a:cubicBezTo>
                  <a:cubicBezTo>
                    <a:pt x="9556296" y="4599947"/>
                    <a:pt x="9554212" y="4556178"/>
                    <a:pt x="9552127" y="4512930"/>
                  </a:cubicBezTo>
                  <a:close/>
                  <a:moveTo>
                    <a:pt x="9537537" y="4754182"/>
                  </a:moveTo>
                  <a:cubicBezTo>
                    <a:pt x="9525553" y="4754182"/>
                    <a:pt x="9515653" y="4763561"/>
                    <a:pt x="9515653" y="4776067"/>
                  </a:cubicBezTo>
                  <a:lnTo>
                    <a:pt x="9515653" y="4777109"/>
                  </a:lnTo>
                  <a:cubicBezTo>
                    <a:pt x="9516695" y="4788572"/>
                    <a:pt x="9526074" y="4797951"/>
                    <a:pt x="9537537" y="4797951"/>
                  </a:cubicBezTo>
                  <a:cubicBezTo>
                    <a:pt x="9549001" y="4797430"/>
                    <a:pt x="9557859" y="4789093"/>
                    <a:pt x="9559422" y="4778151"/>
                  </a:cubicBezTo>
                  <a:lnTo>
                    <a:pt x="9559422" y="4776067"/>
                  </a:lnTo>
                  <a:cubicBezTo>
                    <a:pt x="9559422" y="4763561"/>
                    <a:pt x="9549522" y="4754182"/>
                    <a:pt x="9537537" y="4754182"/>
                  </a:cubicBezTo>
                  <a:close/>
                  <a:moveTo>
                    <a:pt x="24490" y="4626521"/>
                  </a:moveTo>
                  <a:lnTo>
                    <a:pt x="24490" y="4626521"/>
                  </a:lnTo>
                  <a:cubicBezTo>
                    <a:pt x="11984" y="4626521"/>
                    <a:pt x="2084" y="4635901"/>
                    <a:pt x="2084" y="4647364"/>
                  </a:cubicBezTo>
                  <a:cubicBezTo>
                    <a:pt x="1042" y="4670290"/>
                    <a:pt x="521" y="4694259"/>
                    <a:pt x="521" y="4717707"/>
                  </a:cubicBezTo>
                  <a:cubicBezTo>
                    <a:pt x="0" y="4738029"/>
                    <a:pt x="0" y="4758350"/>
                    <a:pt x="0" y="4779193"/>
                  </a:cubicBezTo>
                  <a:cubicBezTo>
                    <a:pt x="0" y="4791177"/>
                    <a:pt x="9379" y="4801077"/>
                    <a:pt x="21885" y="4801077"/>
                  </a:cubicBezTo>
                  <a:cubicBezTo>
                    <a:pt x="33869" y="4801077"/>
                    <a:pt x="43769" y="4791698"/>
                    <a:pt x="43769" y="4779193"/>
                  </a:cubicBezTo>
                  <a:cubicBezTo>
                    <a:pt x="43769" y="4758871"/>
                    <a:pt x="43769" y="4738550"/>
                    <a:pt x="44290" y="4718229"/>
                  </a:cubicBezTo>
                  <a:cubicBezTo>
                    <a:pt x="44290" y="4694781"/>
                    <a:pt x="44811" y="4671333"/>
                    <a:pt x="45854" y="4648406"/>
                  </a:cubicBezTo>
                  <a:cubicBezTo>
                    <a:pt x="45854" y="4636422"/>
                    <a:pt x="36474" y="4626521"/>
                    <a:pt x="24490" y="4626521"/>
                  </a:cubicBezTo>
                  <a:close/>
                </a:path>
              </a:pathLst>
            </a:custGeom>
            <a:solidFill>
              <a:srgbClr val="F1F2F2"/>
            </a:solidFill>
            <a:ln w="52104" cap="flat">
              <a:noFill/>
              <a:prstDash val="solid"/>
              <a:miter/>
            </a:ln>
          </p:spPr>
          <p:txBody>
            <a:bodyPr rtlCol="0" anchor="ctr"/>
            <a:lstStyle/>
            <a:p>
              <a:endParaRPr lang="en-IN" dirty="0"/>
            </a:p>
          </p:txBody>
        </p:sp>
        <p:sp>
          <p:nvSpPr>
            <p:cNvPr id="14" name="Freeform: Shape 13">
              <a:extLst>
                <a:ext uri="{FF2B5EF4-FFF2-40B4-BE49-F238E27FC236}">
                  <a16:creationId xmlns:a16="http://schemas.microsoft.com/office/drawing/2014/main" id="{D6CDE8B6-FE60-1FC5-082E-EDA9711FC8A0}"/>
                </a:ext>
              </a:extLst>
            </p:cNvPr>
            <p:cNvSpPr/>
            <p:nvPr/>
          </p:nvSpPr>
          <p:spPr>
            <a:xfrm>
              <a:off x="9671172" y="10682433"/>
              <a:ext cx="9645918" cy="4888615"/>
            </a:xfrm>
            <a:custGeom>
              <a:avLst/>
              <a:gdLst>
                <a:gd name="connsiteX0" fmla="*/ 4822960 w 9645918"/>
                <a:gd name="connsiteY0" fmla="*/ 4888616 h 4888615"/>
                <a:gd name="connsiteX1" fmla="*/ 0 w 9645918"/>
                <a:gd name="connsiteY1" fmla="*/ 65133 h 4888615"/>
                <a:gd name="connsiteX2" fmla="*/ 65133 w 9645918"/>
                <a:gd name="connsiteY2" fmla="*/ 0 h 4888615"/>
                <a:gd name="connsiteX3" fmla="*/ 130266 w 9645918"/>
                <a:gd name="connsiteY3" fmla="*/ 65133 h 4888615"/>
                <a:gd name="connsiteX4" fmla="*/ 4822960 w 9645918"/>
                <a:gd name="connsiteY4" fmla="*/ 4757829 h 4888615"/>
                <a:gd name="connsiteX5" fmla="*/ 9515653 w 9645918"/>
                <a:gd name="connsiteY5" fmla="*/ 65133 h 4888615"/>
                <a:gd name="connsiteX6" fmla="*/ 9580786 w 9645918"/>
                <a:gd name="connsiteY6" fmla="*/ 0 h 4888615"/>
                <a:gd name="connsiteX7" fmla="*/ 9645919 w 9645918"/>
                <a:gd name="connsiteY7" fmla="*/ 65133 h 4888615"/>
                <a:gd name="connsiteX8" fmla="*/ 4822960 w 9645918"/>
                <a:gd name="connsiteY8" fmla="*/ 4888616 h 488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45918" h="4888615">
                  <a:moveTo>
                    <a:pt x="4822960" y="4888616"/>
                  </a:moveTo>
                  <a:cubicBezTo>
                    <a:pt x="2163454" y="4888616"/>
                    <a:pt x="0" y="2724640"/>
                    <a:pt x="0" y="65133"/>
                  </a:cubicBezTo>
                  <a:cubicBezTo>
                    <a:pt x="0" y="29179"/>
                    <a:pt x="29180" y="0"/>
                    <a:pt x="65133" y="0"/>
                  </a:cubicBezTo>
                  <a:cubicBezTo>
                    <a:pt x="101086" y="0"/>
                    <a:pt x="130266" y="29179"/>
                    <a:pt x="130266" y="65133"/>
                  </a:cubicBezTo>
                  <a:cubicBezTo>
                    <a:pt x="130266" y="2652734"/>
                    <a:pt x="2235361" y="4757829"/>
                    <a:pt x="4822960" y="4757829"/>
                  </a:cubicBezTo>
                  <a:cubicBezTo>
                    <a:pt x="7410559" y="4757829"/>
                    <a:pt x="9515653" y="2652734"/>
                    <a:pt x="9515653" y="65133"/>
                  </a:cubicBezTo>
                  <a:cubicBezTo>
                    <a:pt x="9515653" y="29179"/>
                    <a:pt x="9544832" y="0"/>
                    <a:pt x="9580786" y="0"/>
                  </a:cubicBezTo>
                  <a:cubicBezTo>
                    <a:pt x="9616739" y="0"/>
                    <a:pt x="9645919" y="29179"/>
                    <a:pt x="9645919" y="65133"/>
                  </a:cubicBezTo>
                  <a:cubicBezTo>
                    <a:pt x="9645919" y="2724640"/>
                    <a:pt x="7482466" y="4888616"/>
                    <a:pt x="4822960" y="4888616"/>
                  </a:cubicBezTo>
                  <a:close/>
                </a:path>
              </a:pathLst>
            </a:custGeom>
            <a:solidFill>
              <a:schemeClr val="accent1"/>
            </a:solidFill>
            <a:ln w="52104" cap="flat">
              <a:noFill/>
              <a:prstDash val="solid"/>
              <a:miter/>
            </a:ln>
          </p:spPr>
          <p:txBody>
            <a:bodyPr rtlCol="0" anchor="ctr"/>
            <a:lstStyle/>
            <a:p>
              <a:endParaRPr lang="en-IN" dirty="0"/>
            </a:p>
          </p:txBody>
        </p:sp>
        <p:sp>
          <p:nvSpPr>
            <p:cNvPr id="15" name="Freeform: Shape 14">
              <a:extLst>
                <a:ext uri="{FF2B5EF4-FFF2-40B4-BE49-F238E27FC236}">
                  <a16:creationId xmlns:a16="http://schemas.microsoft.com/office/drawing/2014/main" id="{0FC0BCA5-E6A4-98BF-87CF-B98A10118169}"/>
                </a:ext>
              </a:extLst>
            </p:cNvPr>
            <p:cNvSpPr/>
            <p:nvPr/>
          </p:nvSpPr>
          <p:spPr>
            <a:xfrm>
              <a:off x="10327711" y="6581144"/>
              <a:ext cx="8332839" cy="8332844"/>
            </a:xfrm>
            <a:custGeom>
              <a:avLst/>
              <a:gdLst>
                <a:gd name="connsiteX0" fmla="*/ 8332840 w 8332839"/>
                <a:gd name="connsiteY0" fmla="*/ 4166422 h 8332844"/>
                <a:gd name="connsiteX1" fmla="*/ 4166420 w 8332839"/>
                <a:gd name="connsiteY1" fmla="*/ 8332845 h 8332844"/>
                <a:gd name="connsiteX2" fmla="*/ 0 w 8332839"/>
                <a:gd name="connsiteY2" fmla="*/ 4166423 h 8332844"/>
                <a:gd name="connsiteX3" fmla="*/ 4166420 w 8332839"/>
                <a:gd name="connsiteY3" fmla="*/ 0 h 8332844"/>
                <a:gd name="connsiteX4" fmla="*/ 8332840 w 8332839"/>
                <a:gd name="connsiteY4" fmla="*/ 4166422 h 8332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839" h="8332844">
                  <a:moveTo>
                    <a:pt x="8332840" y="4166422"/>
                  </a:moveTo>
                  <a:cubicBezTo>
                    <a:pt x="8332840" y="6467474"/>
                    <a:pt x="6467470" y="8332845"/>
                    <a:pt x="4166420" y="8332845"/>
                  </a:cubicBezTo>
                  <a:cubicBezTo>
                    <a:pt x="1865370" y="8332845"/>
                    <a:pt x="0" y="6467474"/>
                    <a:pt x="0" y="4166423"/>
                  </a:cubicBezTo>
                  <a:cubicBezTo>
                    <a:pt x="0" y="1865371"/>
                    <a:pt x="1865370" y="0"/>
                    <a:pt x="4166420" y="0"/>
                  </a:cubicBezTo>
                  <a:cubicBezTo>
                    <a:pt x="6467470" y="0"/>
                    <a:pt x="8332840" y="1865371"/>
                    <a:pt x="8332840" y="4166422"/>
                  </a:cubicBezTo>
                  <a:close/>
                </a:path>
              </a:pathLst>
            </a:custGeom>
            <a:solidFill>
              <a:srgbClr val="FFFFFF"/>
            </a:solidFill>
            <a:ln w="52104" cap="flat">
              <a:noFill/>
              <a:prstDash val="solid"/>
              <a:miter/>
            </a:ln>
            <a:effectLst/>
          </p:spPr>
          <p:txBody>
            <a:bodyPr rtlCol="0" anchor="ctr"/>
            <a:lstStyle/>
            <a:p>
              <a:endParaRPr lang="en-IN" dirty="0"/>
            </a:p>
          </p:txBody>
        </p:sp>
        <p:sp>
          <p:nvSpPr>
            <p:cNvPr id="17" name="Freeform: Shape 16">
              <a:extLst>
                <a:ext uri="{FF2B5EF4-FFF2-40B4-BE49-F238E27FC236}">
                  <a16:creationId xmlns:a16="http://schemas.microsoft.com/office/drawing/2014/main" id="{72D4E2F2-1C67-E664-37FE-88B885C218D4}"/>
                </a:ext>
              </a:extLst>
            </p:cNvPr>
            <p:cNvSpPr/>
            <p:nvPr/>
          </p:nvSpPr>
          <p:spPr>
            <a:xfrm>
              <a:off x="9995273" y="6249227"/>
              <a:ext cx="8997716" cy="8997721"/>
            </a:xfrm>
            <a:custGeom>
              <a:avLst/>
              <a:gdLst>
                <a:gd name="connsiteX0" fmla="*/ 6218887 w 8997716"/>
                <a:gd name="connsiteY0" fmla="*/ 342339 h 8997721"/>
                <a:gd name="connsiteX1" fmla="*/ 5562348 w 8997716"/>
                <a:gd name="connsiteY1" fmla="*/ 127661 h 8997721"/>
                <a:gd name="connsiteX2" fmla="*/ 4498858 w 8997716"/>
                <a:gd name="connsiteY2" fmla="*/ 0 h 8997721"/>
                <a:gd name="connsiteX3" fmla="*/ 0 w 8997716"/>
                <a:gd name="connsiteY3" fmla="*/ 4498861 h 8997721"/>
                <a:gd name="connsiteX4" fmla="*/ 4498858 w 8997716"/>
                <a:gd name="connsiteY4" fmla="*/ 8997721 h 8997721"/>
                <a:gd name="connsiteX5" fmla="*/ 8997716 w 8997716"/>
                <a:gd name="connsiteY5" fmla="*/ 4498861 h 8997721"/>
                <a:gd name="connsiteX6" fmla="*/ 6218887 w 8997716"/>
                <a:gd name="connsiteY6" fmla="*/ 342339 h 8997721"/>
                <a:gd name="connsiteX7" fmla="*/ 4498858 w 8997716"/>
                <a:gd name="connsiteY7" fmla="*/ 8910182 h 8997721"/>
                <a:gd name="connsiteX8" fmla="*/ 87018 w 8997716"/>
                <a:gd name="connsiteY8" fmla="*/ 4498340 h 8997721"/>
                <a:gd name="connsiteX9" fmla="*/ 4498858 w 8997716"/>
                <a:gd name="connsiteY9" fmla="*/ 86497 h 8997721"/>
                <a:gd name="connsiteX10" fmla="*/ 8910699 w 8997716"/>
                <a:gd name="connsiteY10" fmla="*/ 4498340 h 8997721"/>
                <a:gd name="connsiteX11" fmla="*/ 4498858 w 8997716"/>
                <a:gd name="connsiteY11" fmla="*/ 8910182 h 899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97716" h="8997721">
                  <a:moveTo>
                    <a:pt x="6218887" y="342339"/>
                  </a:moveTo>
                  <a:cubicBezTo>
                    <a:pt x="6007857" y="254279"/>
                    <a:pt x="5787969" y="181851"/>
                    <a:pt x="5562348" y="127661"/>
                  </a:cubicBezTo>
                  <a:cubicBezTo>
                    <a:pt x="5221052" y="44290"/>
                    <a:pt x="4865166" y="0"/>
                    <a:pt x="4498858" y="0"/>
                  </a:cubicBezTo>
                  <a:cubicBezTo>
                    <a:pt x="2018077" y="0"/>
                    <a:pt x="0" y="2018078"/>
                    <a:pt x="0" y="4498861"/>
                  </a:cubicBezTo>
                  <a:cubicBezTo>
                    <a:pt x="0" y="6979643"/>
                    <a:pt x="2018077" y="8997721"/>
                    <a:pt x="4498858" y="8997721"/>
                  </a:cubicBezTo>
                  <a:cubicBezTo>
                    <a:pt x="6979639" y="8997721"/>
                    <a:pt x="8997716" y="6979643"/>
                    <a:pt x="8997716" y="4498861"/>
                  </a:cubicBezTo>
                  <a:cubicBezTo>
                    <a:pt x="8997716" y="2627201"/>
                    <a:pt x="7848773" y="1018679"/>
                    <a:pt x="6218887" y="342339"/>
                  </a:cubicBezTo>
                  <a:close/>
                  <a:moveTo>
                    <a:pt x="4498858" y="8910182"/>
                  </a:moveTo>
                  <a:cubicBezTo>
                    <a:pt x="2066015" y="8910182"/>
                    <a:pt x="87018" y="6931184"/>
                    <a:pt x="87018" y="4498340"/>
                  </a:cubicBezTo>
                  <a:cubicBezTo>
                    <a:pt x="87018" y="2065495"/>
                    <a:pt x="2066015" y="86497"/>
                    <a:pt x="4498858" y="86497"/>
                  </a:cubicBezTo>
                  <a:cubicBezTo>
                    <a:pt x="6931702" y="86497"/>
                    <a:pt x="8910699" y="2065495"/>
                    <a:pt x="8910699" y="4498340"/>
                  </a:cubicBezTo>
                  <a:cubicBezTo>
                    <a:pt x="8910699" y="6931184"/>
                    <a:pt x="6931702" y="8910182"/>
                    <a:pt x="4498858" y="8910182"/>
                  </a:cubicBezTo>
                  <a:close/>
                </a:path>
              </a:pathLst>
            </a:custGeom>
            <a:solidFill>
              <a:srgbClr val="0F2C30"/>
            </a:solidFill>
            <a:ln w="52104" cap="flat">
              <a:noFill/>
              <a:prstDash val="solid"/>
              <a:miter/>
            </a:ln>
          </p:spPr>
          <p:txBody>
            <a:bodyPr rtlCol="0" anchor="ctr"/>
            <a:lstStyle/>
            <a:p>
              <a:endParaRPr lang="en-IN" dirty="0"/>
            </a:p>
          </p:txBody>
        </p:sp>
        <p:sp>
          <p:nvSpPr>
            <p:cNvPr id="18" name="Freeform: Shape 17">
              <a:extLst>
                <a:ext uri="{FF2B5EF4-FFF2-40B4-BE49-F238E27FC236}">
                  <a16:creationId xmlns:a16="http://schemas.microsoft.com/office/drawing/2014/main" id="{7C50FC73-A9BA-9E49-E3C3-C997C7025D98}"/>
                </a:ext>
              </a:extLst>
            </p:cNvPr>
            <p:cNvSpPr/>
            <p:nvPr/>
          </p:nvSpPr>
          <p:spPr>
            <a:xfrm>
              <a:off x="10044253" y="6297686"/>
              <a:ext cx="8899756" cy="8899760"/>
            </a:xfrm>
            <a:custGeom>
              <a:avLst/>
              <a:gdLst>
                <a:gd name="connsiteX0" fmla="*/ 4449878 w 8899756"/>
                <a:gd name="connsiteY0" fmla="*/ 0 h 8899760"/>
                <a:gd name="connsiteX1" fmla="*/ 0 w 8899756"/>
                <a:gd name="connsiteY1" fmla="*/ 4449881 h 8899760"/>
                <a:gd name="connsiteX2" fmla="*/ 4449878 w 8899756"/>
                <a:gd name="connsiteY2" fmla="*/ 8899761 h 8899760"/>
                <a:gd name="connsiteX3" fmla="*/ 8899757 w 8899756"/>
                <a:gd name="connsiteY3" fmla="*/ 4449881 h 8899760"/>
                <a:gd name="connsiteX4" fmla="*/ 4449878 w 8899756"/>
                <a:gd name="connsiteY4" fmla="*/ 0 h 8899760"/>
                <a:gd name="connsiteX5" fmla="*/ 4449878 w 8899756"/>
                <a:gd name="connsiteY5" fmla="*/ 8813265 h 8899760"/>
                <a:gd name="connsiteX6" fmla="*/ 87018 w 8899756"/>
                <a:gd name="connsiteY6" fmla="*/ 4450402 h 8899760"/>
                <a:gd name="connsiteX7" fmla="*/ 4449878 w 8899756"/>
                <a:gd name="connsiteY7" fmla="*/ 87018 h 8899760"/>
                <a:gd name="connsiteX8" fmla="*/ 8812739 w 8899756"/>
                <a:gd name="connsiteY8" fmla="*/ 4449881 h 8899760"/>
                <a:gd name="connsiteX9" fmla="*/ 4449878 w 8899756"/>
                <a:gd name="connsiteY9" fmla="*/ 8813265 h 889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9756" h="8899760">
                  <a:moveTo>
                    <a:pt x="4449878" y="0"/>
                  </a:moveTo>
                  <a:cubicBezTo>
                    <a:pt x="1995671" y="0"/>
                    <a:pt x="0" y="1996194"/>
                    <a:pt x="0" y="4449881"/>
                  </a:cubicBezTo>
                  <a:cubicBezTo>
                    <a:pt x="0" y="6904089"/>
                    <a:pt x="1996193" y="8899761"/>
                    <a:pt x="4449878" y="8899761"/>
                  </a:cubicBezTo>
                  <a:cubicBezTo>
                    <a:pt x="6903564" y="8899761"/>
                    <a:pt x="8899757" y="6903568"/>
                    <a:pt x="8899757" y="4449881"/>
                  </a:cubicBezTo>
                  <a:cubicBezTo>
                    <a:pt x="8900278" y="1996194"/>
                    <a:pt x="6903564" y="0"/>
                    <a:pt x="4449878" y="0"/>
                  </a:cubicBezTo>
                  <a:close/>
                  <a:moveTo>
                    <a:pt x="4449878" y="8813265"/>
                  </a:moveTo>
                  <a:cubicBezTo>
                    <a:pt x="2044130" y="8813265"/>
                    <a:pt x="87018" y="6856151"/>
                    <a:pt x="87018" y="4450402"/>
                  </a:cubicBezTo>
                  <a:cubicBezTo>
                    <a:pt x="87018" y="2044653"/>
                    <a:pt x="2044130" y="87018"/>
                    <a:pt x="4449878" y="87018"/>
                  </a:cubicBezTo>
                  <a:cubicBezTo>
                    <a:pt x="6855626" y="87018"/>
                    <a:pt x="8812739" y="2044131"/>
                    <a:pt x="8812739" y="4449881"/>
                  </a:cubicBezTo>
                  <a:cubicBezTo>
                    <a:pt x="8812739" y="6855630"/>
                    <a:pt x="6855626" y="8813265"/>
                    <a:pt x="4449878" y="8813265"/>
                  </a:cubicBezTo>
                  <a:close/>
                </a:path>
              </a:pathLst>
            </a:custGeom>
            <a:solidFill>
              <a:schemeClr val="bg2"/>
            </a:solidFill>
            <a:ln w="52104" cap="flat">
              <a:noFill/>
              <a:prstDash val="solid"/>
              <a:miter/>
            </a:ln>
          </p:spPr>
          <p:txBody>
            <a:bodyPr rtlCol="0" anchor="ctr"/>
            <a:lstStyle/>
            <a:p>
              <a:endParaRPr lang="en-IN" dirty="0"/>
            </a:p>
          </p:txBody>
        </p:sp>
        <p:sp>
          <p:nvSpPr>
            <p:cNvPr id="19" name="Freeform: Shape 18">
              <a:extLst>
                <a:ext uri="{FF2B5EF4-FFF2-40B4-BE49-F238E27FC236}">
                  <a16:creationId xmlns:a16="http://schemas.microsoft.com/office/drawing/2014/main" id="{AC7F6FC9-C1CF-A48C-D285-43A15F2D59C7}"/>
                </a:ext>
              </a:extLst>
            </p:cNvPr>
            <p:cNvSpPr/>
            <p:nvPr/>
          </p:nvSpPr>
          <p:spPr>
            <a:xfrm>
              <a:off x="10905049" y="7158482"/>
              <a:ext cx="7178164" cy="7178168"/>
            </a:xfrm>
            <a:custGeom>
              <a:avLst/>
              <a:gdLst>
                <a:gd name="connsiteX0" fmla="*/ 7178165 w 7178164"/>
                <a:gd name="connsiteY0" fmla="*/ 3589084 h 7178168"/>
                <a:gd name="connsiteX1" fmla="*/ 3589083 w 7178164"/>
                <a:gd name="connsiteY1" fmla="*/ 7178169 h 7178168"/>
                <a:gd name="connsiteX2" fmla="*/ 0 w 7178164"/>
                <a:gd name="connsiteY2" fmla="*/ 3589085 h 7178168"/>
                <a:gd name="connsiteX3" fmla="*/ 3589083 w 7178164"/>
                <a:gd name="connsiteY3" fmla="*/ 1 h 7178168"/>
                <a:gd name="connsiteX4" fmla="*/ 7178165 w 7178164"/>
                <a:gd name="connsiteY4" fmla="*/ 3589084 h 717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8164" h="7178168">
                  <a:moveTo>
                    <a:pt x="7178165" y="3589084"/>
                  </a:moveTo>
                  <a:cubicBezTo>
                    <a:pt x="7178165" y="5571280"/>
                    <a:pt x="5571278" y="7178169"/>
                    <a:pt x="3589083" y="7178169"/>
                  </a:cubicBezTo>
                  <a:cubicBezTo>
                    <a:pt x="1606887" y="7178169"/>
                    <a:pt x="0" y="5571281"/>
                    <a:pt x="0" y="3589085"/>
                  </a:cubicBezTo>
                  <a:cubicBezTo>
                    <a:pt x="0" y="1606888"/>
                    <a:pt x="1606887" y="1"/>
                    <a:pt x="3589083" y="1"/>
                  </a:cubicBezTo>
                  <a:cubicBezTo>
                    <a:pt x="5571278" y="1"/>
                    <a:pt x="7178165" y="1606888"/>
                    <a:pt x="7178165" y="3589084"/>
                  </a:cubicBezTo>
                  <a:close/>
                </a:path>
              </a:pathLst>
            </a:custGeom>
            <a:ln w="52104" cap="flat">
              <a:noFill/>
              <a:prstDash val="solid"/>
              <a:miter/>
            </a:ln>
          </p:spPr>
          <p:txBody>
            <a:bodyPr rtlCol="0" anchor="ctr"/>
            <a:lstStyle/>
            <a:p>
              <a:endParaRPr lang="en-IN" dirty="0"/>
            </a:p>
          </p:txBody>
        </p:sp>
        <p:pic>
          <p:nvPicPr>
            <p:cNvPr id="20" name="image4.jpg">
              <a:extLst>
                <a:ext uri="{FF2B5EF4-FFF2-40B4-BE49-F238E27FC236}">
                  <a16:creationId xmlns:a16="http://schemas.microsoft.com/office/drawing/2014/main" id="{FCD2DB95-EAF9-202C-0943-C9A2401DBCF6}"/>
                </a:ext>
              </a:extLst>
            </p:cNvPr>
            <p:cNvPicPr preferRelativeResize="0"/>
            <p:nvPr/>
          </p:nvPicPr>
          <p:blipFill>
            <a:blip r:embed="rId8" cstate="hqprint">
              <a:extLst>
                <a:ext uri="{28A0092B-C50C-407E-A947-70E740481C1C}">
                  <a14:useLocalDpi xmlns:a14="http://schemas.microsoft.com/office/drawing/2010/main"/>
                </a:ext>
              </a:extLst>
            </a:blip>
            <a:srcRect/>
            <a:stretch>
              <a:fillRect/>
            </a:stretch>
          </p:blipFill>
          <p:spPr>
            <a:xfrm>
              <a:off x="10300883" y="6479399"/>
              <a:ext cx="8499008" cy="8499010"/>
            </a:xfrm>
            <a:prstGeom prst="ellipse">
              <a:avLst/>
            </a:prstGeom>
            <a:ln/>
            <a:effectLst/>
          </p:spPr>
        </p:pic>
      </p:grpSp>
      <p:sp>
        <p:nvSpPr>
          <p:cNvPr id="4" name="Rounded Rectangle 31">
            <a:extLst>
              <a:ext uri="{FF2B5EF4-FFF2-40B4-BE49-F238E27FC236}">
                <a16:creationId xmlns:a16="http://schemas.microsoft.com/office/drawing/2014/main" id="{F47EC9E1-D571-DCB8-281F-07A1F16F97F5}"/>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5" name="TextBox 27">
            <a:extLst>
              <a:ext uri="{FF2B5EF4-FFF2-40B4-BE49-F238E27FC236}">
                <a16:creationId xmlns:a16="http://schemas.microsoft.com/office/drawing/2014/main" id="{E09F208B-CDAD-0BF1-66BF-42E91B1E502A}"/>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6" name="TextBox 43">
            <a:extLst>
              <a:ext uri="{FF2B5EF4-FFF2-40B4-BE49-F238E27FC236}">
                <a16:creationId xmlns:a16="http://schemas.microsoft.com/office/drawing/2014/main" id="{9AA3ACB1-B042-0D62-0BFC-34FDDDC57BE7}"/>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7" name="TextBox 44">
            <a:extLst>
              <a:ext uri="{FF2B5EF4-FFF2-40B4-BE49-F238E27FC236}">
                <a16:creationId xmlns:a16="http://schemas.microsoft.com/office/drawing/2014/main" id="{80BE80FF-D226-4F65-0AD5-CA2FE19D72EF}"/>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8" name="TextBox 42">
            <a:extLst>
              <a:ext uri="{FF2B5EF4-FFF2-40B4-BE49-F238E27FC236}">
                <a16:creationId xmlns:a16="http://schemas.microsoft.com/office/drawing/2014/main" id="{C5AA446D-5F27-5BDF-AA25-7F993F9A56AE}"/>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9" name="TextBox 43">
            <a:extLst>
              <a:ext uri="{FF2B5EF4-FFF2-40B4-BE49-F238E27FC236}">
                <a16:creationId xmlns:a16="http://schemas.microsoft.com/office/drawing/2014/main" id="{618EEFA5-518D-9819-2148-91275D202B02}"/>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11" name="Straight Arrow Connector 21">
            <a:extLst>
              <a:ext uri="{FF2B5EF4-FFF2-40B4-BE49-F238E27FC236}">
                <a16:creationId xmlns:a16="http://schemas.microsoft.com/office/drawing/2014/main" id="{03B52274-A96F-85D3-7002-BAFD8FA64ADE}"/>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12" name="Straight Arrow Connector 20">
            <a:extLst>
              <a:ext uri="{FF2B5EF4-FFF2-40B4-BE49-F238E27FC236}">
                <a16:creationId xmlns:a16="http://schemas.microsoft.com/office/drawing/2014/main" id="{0B337AFA-0280-0231-1883-217DCDCA026B}"/>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39" name="Straight Arrow Connector 20">
            <a:extLst>
              <a:ext uri="{FF2B5EF4-FFF2-40B4-BE49-F238E27FC236}">
                <a16:creationId xmlns:a16="http://schemas.microsoft.com/office/drawing/2014/main" id="{27090824-25FE-10EB-D9EB-F017A4281943}"/>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40" name="Straight Arrow Connector 21">
            <a:extLst>
              <a:ext uri="{FF2B5EF4-FFF2-40B4-BE49-F238E27FC236}">
                <a16:creationId xmlns:a16="http://schemas.microsoft.com/office/drawing/2014/main" id="{196066FD-2804-3245-2DD9-AC4932C61E59}"/>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41" name="TextBox 27">
            <a:extLst>
              <a:ext uri="{FF2B5EF4-FFF2-40B4-BE49-F238E27FC236}">
                <a16:creationId xmlns:a16="http://schemas.microsoft.com/office/drawing/2014/main" id="{001EF177-FE2C-521C-58D9-E7F26A0175AA}"/>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43" name="TextBox 28">
            <a:extLst>
              <a:ext uri="{FF2B5EF4-FFF2-40B4-BE49-F238E27FC236}">
                <a16:creationId xmlns:a16="http://schemas.microsoft.com/office/drawing/2014/main" id="{329506BA-B2D3-549B-6083-C86FEB6D75F9}"/>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4" name="TextBox 30">
            <a:extLst>
              <a:ext uri="{FF2B5EF4-FFF2-40B4-BE49-F238E27FC236}">
                <a16:creationId xmlns:a16="http://schemas.microsoft.com/office/drawing/2014/main" id="{0783BC4C-6800-92BA-F301-890DD3B04938}"/>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45" name="TextBox 44">
            <a:extLst>
              <a:ext uri="{FF2B5EF4-FFF2-40B4-BE49-F238E27FC236}">
                <a16:creationId xmlns:a16="http://schemas.microsoft.com/office/drawing/2014/main" id="{7019E910-391B-9157-B6A7-1729AA15C7A8}"/>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6" name="Rounded Rectangle 31">
            <a:extLst>
              <a:ext uri="{FF2B5EF4-FFF2-40B4-BE49-F238E27FC236}">
                <a16:creationId xmlns:a16="http://schemas.microsoft.com/office/drawing/2014/main" id="{39092331-27A9-533D-0E68-323856695E64}"/>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7" name="Rounded Rectangle 31">
            <a:extLst>
              <a:ext uri="{FF2B5EF4-FFF2-40B4-BE49-F238E27FC236}">
                <a16:creationId xmlns:a16="http://schemas.microsoft.com/office/drawing/2014/main" id="{EF63933C-46E6-0CE4-5399-181BB46C0DF2}"/>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8" name="Rounded Rectangle 31">
            <a:extLst>
              <a:ext uri="{FF2B5EF4-FFF2-40B4-BE49-F238E27FC236}">
                <a16:creationId xmlns:a16="http://schemas.microsoft.com/office/drawing/2014/main" id="{B7D05AE7-A1EB-5168-C321-142530178A40}"/>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9" name="Rounded Rectangle 31">
            <a:extLst>
              <a:ext uri="{FF2B5EF4-FFF2-40B4-BE49-F238E27FC236}">
                <a16:creationId xmlns:a16="http://schemas.microsoft.com/office/drawing/2014/main" id="{B72B0AB9-DEAA-CD66-31D3-5DE0F1905B7E}"/>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0" name="Rounded Rectangle 31">
            <a:extLst>
              <a:ext uri="{FF2B5EF4-FFF2-40B4-BE49-F238E27FC236}">
                <a16:creationId xmlns:a16="http://schemas.microsoft.com/office/drawing/2014/main" id="{E0CF4944-165E-E2C7-26D6-BCD565331FE3}"/>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1" name="Rounded Rectangle 31">
            <a:extLst>
              <a:ext uri="{FF2B5EF4-FFF2-40B4-BE49-F238E27FC236}">
                <a16:creationId xmlns:a16="http://schemas.microsoft.com/office/drawing/2014/main" id="{088AAC97-AAA4-E9A3-6A7E-020511B71B69}"/>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2" name="Rounded Rectangle 31">
            <a:extLst>
              <a:ext uri="{FF2B5EF4-FFF2-40B4-BE49-F238E27FC236}">
                <a16:creationId xmlns:a16="http://schemas.microsoft.com/office/drawing/2014/main" id="{2D6FAC02-4653-97DE-9303-CC72DBE7F696}"/>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3" name="Rounded Rectangle 31">
            <a:extLst>
              <a:ext uri="{FF2B5EF4-FFF2-40B4-BE49-F238E27FC236}">
                <a16:creationId xmlns:a16="http://schemas.microsoft.com/office/drawing/2014/main" id="{C467062B-5612-4E35-8E11-A17D7F1FDA15}"/>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4" name="Rounded Rectangle 31">
            <a:extLst>
              <a:ext uri="{FF2B5EF4-FFF2-40B4-BE49-F238E27FC236}">
                <a16:creationId xmlns:a16="http://schemas.microsoft.com/office/drawing/2014/main" id="{0E6096CA-6E6E-F628-8654-A6AFBC517249}"/>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5" name="Rounded Rectangle 31">
            <a:extLst>
              <a:ext uri="{FF2B5EF4-FFF2-40B4-BE49-F238E27FC236}">
                <a16:creationId xmlns:a16="http://schemas.microsoft.com/office/drawing/2014/main" id="{840AC6EB-718A-CC58-340B-C0D69ED1E4F7}"/>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6" name="Rounded Rectangle 31">
            <a:extLst>
              <a:ext uri="{FF2B5EF4-FFF2-40B4-BE49-F238E27FC236}">
                <a16:creationId xmlns:a16="http://schemas.microsoft.com/office/drawing/2014/main" id="{0918F9A7-B4F6-6361-59AF-85703317C2E1}"/>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7" name="Rounded Rectangle 31">
            <a:extLst>
              <a:ext uri="{FF2B5EF4-FFF2-40B4-BE49-F238E27FC236}">
                <a16:creationId xmlns:a16="http://schemas.microsoft.com/office/drawing/2014/main" id="{2FCBEAFD-AFCE-ACC4-475D-4023686631DA}"/>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8" name="Rounded Rectangle 31">
            <a:extLst>
              <a:ext uri="{FF2B5EF4-FFF2-40B4-BE49-F238E27FC236}">
                <a16:creationId xmlns:a16="http://schemas.microsoft.com/office/drawing/2014/main" id="{8C7DAD75-8921-E7B6-5FBC-F73C8698CEDF}"/>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9" name="Rounded Rectangle 31">
            <a:extLst>
              <a:ext uri="{FF2B5EF4-FFF2-40B4-BE49-F238E27FC236}">
                <a16:creationId xmlns:a16="http://schemas.microsoft.com/office/drawing/2014/main" id="{A808AAA6-E26F-2B68-2408-4680C89E9E32}"/>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90" name="Rounded Rectangle 31">
            <a:extLst>
              <a:ext uri="{FF2B5EF4-FFF2-40B4-BE49-F238E27FC236}">
                <a16:creationId xmlns:a16="http://schemas.microsoft.com/office/drawing/2014/main" id="{AFED202B-1729-F191-42AC-4E5909AE9856}"/>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Tree>
    <p:extLst>
      <p:ext uri="{BB962C8B-B14F-4D97-AF65-F5344CB8AC3E}">
        <p14:creationId xmlns:p14="http://schemas.microsoft.com/office/powerpoint/2010/main" val="1365513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2200" kern="0" dirty="0"/>
              <a:t>Need more help? Our ex-McKinsey, Deloitte &amp; BCG Consultants have created 19 Management Consulting Toolkits available at </a:t>
            </a:r>
            <a:r>
              <a:rPr lang="en-GB" sz="2200" kern="0" dirty="0">
                <a:hlinkClick r:id="rId8"/>
              </a:rPr>
              <a:t>www.domontconsulting.com</a:t>
            </a:r>
            <a:endParaRPr lang="en-US" sz="2200" b="0" kern="0" dirty="0"/>
          </a:p>
        </p:txBody>
      </p:sp>
      <p:sp>
        <p:nvSpPr>
          <p:cNvPr id="47" name="Slide Number Placeholder 3">
            <a:extLst>
              <a:ext uri="{FF2B5EF4-FFF2-40B4-BE49-F238E27FC236}">
                <a16:creationId xmlns:a16="http://schemas.microsoft.com/office/drawing/2014/main" id="{D47DA033-2956-40C4-8B88-587134132E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7" name="Rectangle 6">
            <a:extLst>
              <a:ext uri="{FF2B5EF4-FFF2-40B4-BE49-F238E27FC236}">
                <a16:creationId xmlns:a16="http://schemas.microsoft.com/office/drawing/2014/main" id="{558C421E-7E39-A570-32F6-06E68C1EEE4C}"/>
              </a:ext>
            </a:extLst>
          </p:cNvPr>
          <p:cNvSpPr>
            <a:spLocks noChangeArrowheads="1"/>
          </p:cNvSpPr>
          <p:nvPr/>
        </p:nvSpPr>
        <p:spPr bwMode="auto">
          <a:xfrm>
            <a:off x="620478"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 Corporate &amp; Business Strategy Toolkit</a:t>
            </a:r>
          </a:p>
        </p:txBody>
      </p:sp>
      <p:pic>
        <p:nvPicPr>
          <p:cNvPr id="19" name="Graphic 18" descr="Lightbulb and gear">
            <a:extLst>
              <a:ext uri="{FF2B5EF4-FFF2-40B4-BE49-F238E27FC236}">
                <a16:creationId xmlns:a16="http://schemas.microsoft.com/office/drawing/2014/main" id="{E0ED72F6-3654-63CA-213F-0B584F34285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32874" y="2015649"/>
            <a:ext cx="640779" cy="640778"/>
          </a:xfrm>
          <a:prstGeom prst="rect">
            <a:avLst/>
          </a:prstGeom>
        </p:spPr>
      </p:pic>
      <p:sp>
        <p:nvSpPr>
          <p:cNvPr id="13" name="Rectangle 12">
            <a:extLst>
              <a:ext uri="{FF2B5EF4-FFF2-40B4-BE49-F238E27FC236}">
                <a16:creationId xmlns:a16="http://schemas.microsoft.com/office/drawing/2014/main" id="{0E23EC02-6B77-6CEF-E611-0B3B5F316F80}"/>
              </a:ext>
            </a:extLst>
          </p:cNvPr>
          <p:cNvSpPr>
            <a:spLocks noChangeArrowheads="1"/>
          </p:cNvSpPr>
          <p:nvPr/>
        </p:nvSpPr>
        <p:spPr bwMode="auto">
          <a:xfrm>
            <a:off x="620478" y="280728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6. Strategic Planning Toolkit</a:t>
            </a:r>
          </a:p>
        </p:txBody>
      </p:sp>
      <p:sp>
        <p:nvSpPr>
          <p:cNvPr id="14" name="Rectangle 13">
            <a:extLst>
              <a:ext uri="{FF2B5EF4-FFF2-40B4-BE49-F238E27FC236}">
                <a16:creationId xmlns:a16="http://schemas.microsoft.com/office/drawing/2014/main" id="{226D134D-00A2-6215-0DE7-20ED9C1FAE02}"/>
              </a:ext>
            </a:extLst>
          </p:cNvPr>
          <p:cNvSpPr>
            <a:spLocks noChangeArrowheads="1"/>
          </p:cNvSpPr>
          <p:nvPr/>
        </p:nvSpPr>
        <p:spPr bwMode="auto">
          <a:xfrm>
            <a:off x="620478"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1. Business Plan &amp; Entrepreneurship Toolkit</a:t>
            </a:r>
          </a:p>
        </p:txBody>
      </p:sp>
      <p:sp>
        <p:nvSpPr>
          <p:cNvPr id="15" name="Rectangle 14">
            <a:extLst>
              <a:ext uri="{FF2B5EF4-FFF2-40B4-BE49-F238E27FC236}">
                <a16:creationId xmlns:a16="http://schemas.microsoft.com/office/drawing/2014/main" id="{5F375674-5BD0-C95E-E34C-189DC46EB9EF}"/>
              </a:ext>
            </a:extLst>
          </p:cNvPr>
          <p:cNvSpPr>
            <a:spLocks noChangeArrowheads="1"/>
          </p:cNvSpPr>
          <p:nvPr/>
        </p:nvSpPr>
        <p:spPr bwMode="auto">
          <a:xfrm>
            <a:off x="620478"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6. </a:t>
            </a:r>
            <a:r>
              <a:rPr lang="en-US" sz="1050" b="1" dirty="0">
                <a:solidFill>
                  <a:schemeClr val="tx2"/>
                </a:solidFill>
              </a:rPr>
              <a:t>Financial Modeling, Planning &amp; Analysis Toolkit</a:t>
            </a:r>
          </a:p>
        </p:txBody>
      </p:sp>
      <p:sp>
        <p:nvSpPr>
          <p:cNvPr id="71" name="Rectangle 70">
            <a:extLst>
              <a:ext uri="{FF2B5EF4-FFF2-40B4-BE49-F238E27FC236}">
                <a16:creationId xmlns:a16="http://schemas.microsoft.com/office/drawing/2014/main" id="{0B25308B-BA59-713F-CA3D-FA80A61921D5}"/>
              </a:ext>
            </a:extLst>
          </p:cNvPr>
          <p:cNvSpPr>
            <a:spLocks noChangeArrowheads="1"/>
          </p:cNvSpPr>
          <p:nvPr/>
        </p:nvSpPr>
        <p:spPr bwMode="auto">
          <a:xfrm>
            <a:off x="2810349"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2. Management Consulting Toolkit</a:t>
            </a:r>
            <a:endParaRPr lang="en-GB" altLang="ja-JP" sz="1050" b="1" dirty="0">
              <a:solidFill>
                <a:schemeClr val="tx2"/>
              </a:solidFill>
            </a:endParaRPr>
          </a:p>
        </p:txBody>
      </p:sp>
      <p:sp>
        <p:nvSpPr>
          <p:cNvPr id="84" name="Rectangle 83">
            <a:extLst>
              <a:ext uri="{FF2B5EF4-FFF2-40B4-BE49-F238E27FC236}">
                <a16:creationId xmlns:a16="http://schemas.microsoft.com/office/drawing/2014/main" id="{931A116A-B170-8576-3191-4E44AFFC3690}"/>
              </a:ext>
            </a:extLst>
          </p:cNvPr>
          <p:cNvSpPr>
            <a:spLocks noChangeArrowheads="1"/>
          </p:cNvSpPr>
          <p:nvPr/>
        </p:nvSpPr>
        <p:spPr bwMode="auto">
          <a:xfrm>
            <a:off x="5011650"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3. </a:t>
            </a:r>
            <a:r>
              <a:rPr lang="en-GB" sz="1050" b="1" dirty="0">
                <a:solidFill>
                  <a:schemeClr val="tx2"/>
                </a:solidFill>
              </a:rPr>
              <a:t>Operating Model &amp; </a:t>
            </a:r>
            <a:r>
              <a:rPr lang="en-US" sz="1050" b="1" dirty="0">
                <a:solidFill>
                  <a:schemeClr val="tx2"/>
                </a:solidFill>
              </a:rPr>
              <a:t>Organization Design Toolkit</a:t>
            </a:r>
          </a:p>
        </p:txBody>
      </p:sp>
      <p:sp>
        <p:nvSpPr>
          <p:cNvPr id="89" name="Rectangle 88">
            <a:extLst>
              <a:ext uri="{FF2B5EF4-FFF2-40B4-BE49-F238E27FC236}">
                <a16:creationId xmlns:a16="http://schemas.microsoft.com/office/drawing/2014/main" id="{C95656C4-FDF4-F11B-2233-D90FF6F01C33}"/>
              </a:ext>
            </a:extLst>
          </p:cNvPr>
          <p:cNvSpPr>
            <a:spLocks noChangeArrowheads="1"/>
          </p:cNvSpPr>
          <p:nvPr/>
        </p:nvSpPr>
        <p:spPr bwMode="auto">
          <a:xfrm>
            <a:off x="72129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4. Digital Transformation Toolkit</a:t>
            </a:r>
          </a:p>
        </p:txBody>
      </p:sp>
      <p:sp>
        <p:nvSpPr>
          <p:cNvPr id="94" name="Rectangle 93">
            <a:extLst>
              <a:ext uri="{FF2B5EF4-FFF2-40B4-BE49-F238E27FC236}">
                <a16:creationId xmlns:a16="http://schemas.microsoft.com/office/drawing/2014/main" id="{289EAC2A-EC1E-0B00-D53D-0E1A9715FF82}"/>
              </a:ext>
            </a:extLst>
          </p:cNvPr>
          <p:cNvSpPr>
            <a:spLocks noChangeArrowheads="1"/>
          </p:cNvSpPr>
          <p:nvPr/>
        </p:nvSpPr>
        <p:spPr bwMode="auto">
          <a:xfrm>
            <a:off x="94142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5. Change &amp; Project Management Toolkit</a:t>
            </a:r>
          </a:p>
        </p:txBody>
      </p:sp>
      <p:sp>
        <p:nvSpPr>
          <p:cNvPr id="117" name="Rectangle 116">
            <a:extLst>
              <a:ext uri="{FF2B5EF4-FFF2-40B4-BE49-F238E27FC236}">
                <a16:creationId xmlns:a16="http://schemas.microsoft.com/office/drawing/2014/main" id="{9BE8DF50-1016-DA34-1E4C-0DD9311F792A}"/>
              </a:ext>
            </a:extLst>
          </p:cNvPr>
          <p:cNvSpPr>
            <a:spLocks noChangeArrowheads="1"/>
          </p:cNvSpPr>
          <p:nvPr/>
        </p:nvSpPr>
        <p:spPr bwMode="auto">
          <a:xfrm>
            <a:off x="2810349"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rgbClr val="002060"/>
                </a:solidFill>
              </a:rPr>
              <a:t>7. </a:t>
            </a:r>
            <a:r>
              <a:rPr lang="en-GB" sz="1050" b="1" dirty="0">
                <a:solidFill>
                  <a:schemeClr val="tx2"/>
                </a:solidFill>
              </a:rPr>
              <a:t>Human Resources &amp; Talent Management Toolkit</a:t>
            </a:r>
            <a:endParaRPr lang="en-US" sz="1050" b="1" dirty="0">
              <a:solidFill>
                <a:schemeClr val="tx2"/>
              </a:solidFill>
            </a:endParaRPr>
          </a:p>
        </p:txBody>
      </p:sp>
      <p:sp>
        <p:nvSpPr>
          <p:cNvPr id="118" name="Rectangle 117">
            <a:extLst>
              <a:ext uri="{FF2B5EF4-FFF2-40B4-BE49-F238E27FC236}">
                <a16:creationId xmlns:a16="http://schemas.microsoft.com/office/drawing/2014/main" id="{E62805BF-A250-5D41-EA3C-FA0A06FD0099}"/>
              </a:ext>
            </a:extLst>
          </p:cNvPr>
          <p:cNvSpPr>
            <a:spLocks noChangeArrowheads="1"/>
          </p:cNvSpPr>
          <p:nvPr/>
        </p:nvSpPr>
        <p:spPr bwMode="auto">
          <a:xfrm>
            <a:off x="5011650"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8. Mergers &amp; Acquisitions Toolkit</a:t>
            </a:r>
            <a:endParaRPr lang="en-US" sz="1050" b="1" dirty="0">
              <a:solidFill>
                <a:srgbClr val="002060"/>
              </a:solidFill>
            </a:endParaRPr>
          </a:p>
        </p:txBody>
      </p:sp>
      <p:sp>
        <p:nvSpPr>
          <p:cNvPr id="119" name="Rectangle 118">
            <a:extLst>
              <a:ext uri="{FF2B5EF4-FFF2-40B4-BE49-F238E27FC236}">
                <a16:creationId xmlns:a16="http://schemas.microsoft.com/office/drawing/2014/main" id="{7FB344A7-AF23-1466-E4A7-7D4A798C3535}"/>
              </a:ext>
            </a:extLst>
          </p:cNvPr>
          <p:cNvSpPr>
            <a:spLocks noChangeArrowheads="1"/>
          </p:cNvSpPr>
          <p:nvPr/>
        </p:nvSpPr>
        <p:spPr bwMode="auto">
          <a:xfrm>
            <a:off x="72129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9. Post Merger Integration Toolkit</a:t>
            </a:r>
          </a:p>
        </p:txBody>
      </p:sp>
      <p:sp>
        <p:nvSpPr>
          <p:cNvPr id="120" name="Rectangle 119">
            <a:extLst>
              <a:ext uri="{FF2B5EF4-FFF2-40B4-BE49-F238E27FC236}">
                <a16:creationId xmlns:a16="http://schemas.microsoft.com/office/drawing/2014/main" id="{22E395D8-1FE6-5ECF-3FF8-4A223673D9C7}"/>
              </a:ext>
            </a:extLst>
          </p:cNvPr>
          <p:cNvSpPr>
            <a:spLocks noChangeArrowheads="1"/>
          </p:cNvSpPr>
          <p:nvPr/>
        </p:nvSpPr>
        <p:spPr bwMode="auto">
          <a:xfrm>
            <a:off x="94142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0. Sales, Marketing &amp; Communication Strategy Toolkit</a:t>
            </a:r>
            <a:endParaRPr lang="en-US" sz="1050" b="1" dirty="0">
              <a:solidFill>
                <a:srgbClr val="002060"/>
              </a:solidFill>
            </a:endParaRPr>
          </a:p>
        </p:txBody>
      </p:sp>
      <p:sp>
        <p:nvSpPr>
          <p:cNvPr id="121" name="Rectangle 120">
            <a:extLst>
              <a:ext uri="{FF2B5EF4-FFF2-40B4-BE49-F238E27FC236}">
                <a16:creationId xmlns:a16="http://schemas.microsoft.com/office/drawing/2014/main" id="{8E8208E4-CB0D-6EF1-2429-8C15E934AE8D}"/>
              </a:ext>
            </a:extLst>
          </p:cNvPr>
          <p:cNvSpPr>
            <a:spLocks noChangeArrowheads="1"/>
          </p:cNvSpPr>
          <p:nvPr/>
        </p:nvSpPr>
        <p:spPr bwMode="auto">
          <a:xfrm>
            <a:off x="2810349"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2. </a:t>
            </a:r>
            <a:r>
              <a:rPr lang="en-US" sz="1050" b="1" dirty="0">
                <a:solidFill>
                  <a:srgbClr val="002060"/>
                </a:solidFill>
              </a:rPr>
              <a:t>Supply Chain Strategy Toolkit</a:t>
            </a:r>
            <a:endParaRPr lang="en-US" sz="1050" b="1" dirty="0">
              <a:solidFill>
                <a:schemeClr val="tx2"/>
              </a:solidFill>
            </a:endParaRPr>
          </a:p>
        </p:txBody>
      </p:sp>
      <p:sp>
        <p:nvSpPr>
          <p:cNvPr id="122" name="Rectangle 121">
            <a:extLst>
              <a:ext uri="{FF2B5EF4-FFF2-40B4-BE49-F238E27FC236}">
                <a16:creationId xmlns:a16="http://schemas.microsoft.com/office/drawing/2014/main" id="{46586B85-E52C-2304-9CD4-976D9E4E39F4}"/>
              </a:ext>
            </a:extLst>
          </p:cNvPr>
          <p:cNvSpPr>
            <a:spLocks noChangeArrowheads="1"/>
          </p:cNvSpPr>
          <p:nvPr/>
        </p:nvSpPr>
        <p:spPr bwMode="auto">
          <a:xfrm>
            <a:off x="5011650"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3. Lean 6 Sigma Toolkit</a:t>
            </a:r>
          </a:p>
        </p:txBody>
      </p:sp>
      <p:sp>
        <p:nvSpPr>
          <p:cNvPr id="123" name="Rectangle 122">
            <a:extLst>
              <a:ext uri="{FF2B5EF4-FFF2-40B4-BE49-F238E27FC236}">
                <a16:creationId xmlns:a16="http://schemas.microsoft.com/office/drawing/2014/main" id="{7D90D3F8-D499-B2F3-DF04-A850A95591F9}"/>
              </a:ext>
            </a:extLst>
          </p:cNvPr>
          <p:cNvSpPr>
            <a:spLocks noChangeArrowheads="1"/>
          </p:cNvSpPr>
          <p:nvPr/>
        </p:nvSpPr>
        <p:spPr bwMode="auto">
          <a:xfrm>
            <a:off x="72129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4. Risk Management Toolkit </a:t>
            </a:r>
          </a:p>
        </p:txBody>
      </p:sp>
      <p:sp>
        <p:nvSpPr>
          <p:cNvPr id="124" name="Rectangle 123">
            <a:extLst>
              <a:ext uri="{FF2B5EF4-FFF2-40B4-BE49-F238E27FC236}">
                <a16:creationId xmlns:a16="http://schemas.microsoft.com/office/drawing/2014/main" id="{5930397F-943F-658A-4AAD-01CA87EAC506}"/>
              </a:ext>
            </a:extLst>
          </p:cNvPr>
          <p:cNvSpPr>
            <a:spLocks noChangeArrowheads="1"/>
          </p:cNvSpPr>
          <p:nvPr/>
        </p:nvSpPr>
        <p:spPr bwMode="auto">
          <a:xfrm>
            <a:off x="94142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5. Leadership Development Toolkit</a:t>
            </a:r>
            <a:endParaRPr lang="en-US" sz="1050" b="1" dirty="0">
              <a:solidFill>
                <a:schemeClr val="tx2"/>
              </a:solidFill>
            </a:endParaRPr>
          </a:p>
        </p:txBody>
      </p:sp>
      <p:sp>
        <p:nvSpPr>
          <p:cNvPr id="125" name="Rectangle 124">
            <a:extLst>
              <a:ext uri="{FF2B5EF4-FFF2-40B4-BE49-F238E27FC236}">
                <a16:creationId xmlns:a16="http://schemas.microsoft.com/office/drawing/2014/main" id="{6B74E3D5-B63B-6A46-F024-0449A85EA0A4}"/>
              </a:ext>
            </a:extLst>
          </p:cNvPr>
          <p:cNvSpPr>
            <a:spLocks noChangeArrowheads="1"/>
          </p:cNvSpPr>
          <p:nvPr/>
        </p:nvSpPr>
        <p:spPr bwMode="auto">
          <a:xfrm>
            <a:off x="2810349"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7. Customer Experience Strategy &amp; Design Thinking Toolkit</a:t>
            </a:r>
          </a:p>
        </p:txBody>
      </p:sp>
      <p:sp>
        <p:nvSpPr>
          <p:cNvPr id="126" name="Rectangle 125">
            <a:extLst>
              <a:ext uri="{FF2B5EF4-FFF2-40B4-BE49-F238E27FC236}">
                <a16:creationId xmlns:a16="http://schemas.microsoft.com/office/drawing/2014/main" id="{8D04E3C5-6CEE-C8B9-B7E0-3A047CB47462}"/>
              </a:ext>
            </a:extLst>
          </p:cNvPr>
          <p:cNvSpPr>
            <a:spLocks noChangeArrowheads="1"/>
          </p:cNvSpPr>
          <p:nvPr/>
        </p:nvSpPr>
        <p:spPr bwMode="auto">
          <a:xfrm>
            <a:off x="5011650"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8. Data Analytics Strategy Toolkit</a:t>
            </a:r>
          </a:p>
        </p:txBody>
      </p:sp>
      <p:sp>
        <p:nvSpPr>
          <p:cNvPr id="127" name="Rectangle 126">
            <a:extLst>
              <a:ext uri="{FF2B5EF4-FFF2-40B4-BE49-F238E27FC236}">
                <a16:creationId xmlns:a16="http://schemas.microsoft.com/office/drawing/2014/main" id="{1607D25E-5270-E306-C1C5-51F3F2E5145F}"/>
              </a:ext>
            </a:extLst>
          </p:cNvPr>
          <p:cNvSpPr>
            <a:spLocks noChangeArrowheads="1"/>
          </p:cNvSpPr>
          <p:nvPr/>
        </p:nvSpPr>
        <p:spPr bwMode="auto">
          <a:xfrm>
            <a:off x="72129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9. </a:t>
            </a:r>
            <a:r>
              <a:rPr lang="en-GB" sz="1050" b="1" dirty="0">
                <a:solidFill>
                  <a:schemeClr val="tx2"/>
                </a:solidFill>
              </a:rPr>
              <a:t>Warren Buffet Value Investing Strategy Toolkit</a:t>
            </a:r>
            <a:endParaRPr lang="en-US" sz="1050" b="1" dirty="0">
              <a:solidFill>
                <a:schemeClr val="tx2"/>
              </a:solidFill>
            </a:endParaRPr>
          </a:p>
        </p:txBody>
      </p:sp>
      <p:sp>
        <p:nvSpPr>
          <p:cNvPr id="128" name="Rectangle 127">
            <a:extLst>
              <a:ext uri="{FF2B5EF4-FFF2-40B4-BE49-F238E27FC236}">
                <a16:creationId xmlns:a16="http://schemas.microsoft.com/office/drawing/2014/main" id="{EC934F31-E734-A9EA-03A7-5D28FC71A303}"/>
              </a:ext>
            </a:extLst>
          </p:cNvPr>
          <p:cNvSpPr>
            <a:spLocks noChangeArrowheads="1"/>
          </p:cNvSpPr>
          <p:nvPr/>
        </p:nvSpPr>
        <p:spPr bwMode="auto">
          <a:xfrm>
            <a:off x="94142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36000" tIns="91440" rIns="36000" bIns="91440" anchor="t">
            <a:normAutofit/>
          </a:bodyPr>
          <a:lstStyle/>
          <a:p>
            <a:pPr algn="ctr"/>
            <a:r>
              <a:rPr lang="en-US" sz="1050" b="1" dirty="0"/>
              <a:t>Need another Toolkit?</a:t>
            </a:r>
          </a:p>
          <a:p>
            <a:pPr algn="ctr"/>
            <a:endParaRPr lang="en-US" sz="1050" b="1" dirty="0">
              <a:solidFill>
                <a:schemeClr val="tx2"/>
              </a:solidFill>
            </a:endParaRPr>
          </a:p>
          <a:p>
            <a:pPr algn="ctr"/>
            <a:r>
              <a:rPr lang="en-US" sz="1050" dirty="0">
                <a:solidFill>
                  <a:schemeClr val="tx2"/>
                </a:solidFill>
              </a:rPr>
              <a:t>Let us know by sending an email at support@domontconsulting.com</a:t>
            </a:r>
            <a:endParaRPr lang="en-US" sz="1050" b="1" dirty="0">
              <a:solidFill>
                <a:schemeClr val="tx2"/>
              </a:solidFill>
            </a:endParaRPr>
          </a:p>
        </p:txBody>
      </p:sp>
      <p:pic>
        <p:nvPicPr>
          <p:cNvPr id="129" name="Graphic 128" descr="Playbook">
            <a:extLst>
              <a:ext uri="{FF2B5EF4-FFF2-40B4-BE49-F238E27FC236}">
                <a16:creationId xmlns:a16="http://schemas.microsoft.com/office/drawing/2014/main" id="{46BE37AD-D108-0BEF-8826-BDFADC9D8F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75674" y="2040852"/>
            <a:ext cx="603938" cy="603938"/>
          </a:xfrm>
          <a:prstGeom prst="rect">
            <a:avLst/>
          </a:prstGeom>
        </p:spPr>
      </p:pic>
      <p:pic>
        <p:nvPicPr>
          <p:cNvPr id="130" name="Graphic 129" descr="Stream">
            <a:extLst>
              <a:ext uri="{FF2B5EF4-FFF2-40B4-BE49-F238E27FC236}">
                <a16:creationId xmlns:a16="http://schemas.microsoft.com/office/drawing/2014/main" id="{6D054838-488C-423E-FBE2-DB9B3C9140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65787" y="2023694"/>
            <a:ext cx="654151" cy="654151"/>
          </a:xfrm>
          <a:prstGeom prst="rect">
            <a:avLst/>
          </a:prstGeom>
        </p:spPr>
      </p:pic>
      <p:pic>
        <p:nvPicPr>
          <p:cNvPr id="131" name="Graphic 130" descr="Network diagram with solid fill">
            <a:extLst>
              <a:ext uri="{FF2B5EF4-FFF2-40B4-BE49-F238E27FC236}">
                <a16:creationId xmlns:a16="http://schemas.microsoft.com/office/drawing/2014/main" id="{48EA1DD4-0F8E-1FCB-FCB0-0211E9C6EB9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5740049" y="2023695"/>
            <a:ext cx="617089" cy="617089"/>
          </a:xfrm>
          <a:prstGeom prst="rect">
            <a:avLst/>
          </a:prstGeom>
        </p:spPr>
      </p:pic>
      <p:pic>
        <p:nvPicPr>
          <p:cNvPr id="132" name="Graphic 131" descr="Meeting with solid fill">
            <a:extLst>
              <a:ext uri="{FF2B5EF4-FFF2-40B4-BE49-F238E27FC236}">
                <a16:creationId xmlns:a16="http://schemas.microsoft.com/office/drawing/2014/main" id="{02E0CDC8-EE83-DCBB-4225-B2D1D90811C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188172" y="2028281"/>
            <a:ext cx="592085" cy="592085"/>
          </a:xfrm>
          <a:prstGeom prst="rect">
            <a:avLst/>
          </a:prstGeom>
        </p:spPr>
      </p:pic>
      <p:pic>
        <p:nvPicPr>
          <p:cNvPr id="146" name="Graphic 145" descr="Chess pieces with solid fill">
            <a:extLst>
              <a:ext uri="{FF2B5EF4-FFF2-40B4-BE49-F238E27FC236}">
                <a16:creationId xmlns:a16="http://schemas.microsoft.com/office/drawing/2014/main" id="{B9E7A64F-2DEB-B910-7420-0510C6EECB1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50578" y="3169359"/>
            <a:ext cx="634505" cy="634505"/>
          </a:xfrm>
          <a:prstGeom prst="rect">
            <a:avLst/>
          </a:prstGeom>
        </p:spPr>
      </p:pic>
      <p:pic>
        <p:nvPicPr>
          <p:cNvPr id="147" name="Graphic 146" descr="Puzzle pieces">
            <a:extLst>
              <a:ext uri="{FF2B5EF4-FFF2-40B4-BE49-F238E27FC236}">
                <a16:creationId xmlns:a16="http://schemas.microsoft.com/office/drawing/2014/main" id="{1ED7C9C1-A22E-3033-E5AF-A49B5D197F7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69884" y="3225171"/>
            <a:ext cx="663125" cy="663125"/>
          </a:xfrm>
          <a:prstGeom prst="rect">
            <a:avLst/>
          </a:prstGeom>
        </p:spPr>
      </p:pic>
      <p:pic>
        <p:nvPicPr>
          <p:cNvPr id="148" name="Graphic 147" descr="Handshake with solid fill">
            <a:extLst>
              <a:ext uri="{FF2B5EF4-FFF2-40B4-BE49-F238E27FC236}">
                <a16:creationId xmlns:a16="http://schemas.microsoft.com/office/drawing/2014/main" id="{A4776116-AC6F-474F-AF33-853F967D812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11088" y="3225171"/>
            <a:ext cx="663125" cy="663125"/>
          </a:xfrm>
          <a:prstGeom prst="rect">
            <a:avLst/>
          </a:prstGeom>
        </p:spPr>
      </p:pic>
      <p:pic>
        <p:nvPicPr>
          <p:cNvPr id="149" name="Graphic 148" descr="Bullseye">
            <a:extLst>
              <a:ext uri="{FF2B5EF4-FFF2-40B4-BE49-F238E27FC236}">
                <a16:creationId xmlns:a16="http://schemas.microsoft.com/office/drawing/2014/main" id="{B2B8E08C-3A17-0373-790F-1C9767240B3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155162" y="3262075"/>
            <a:ext cx="646247" cy="646246"/>
          </a:xfrm>
          <a:prstGeom prst="rect">
            <a:avLst/>
          </a:prstGeom>
        </p:spPr>
      </p:pic>
      <p:pic>
        <p:nvPicPr>
          <p:cNvPr id="150" name="Graphic 149" descr="Business Growth">
            <a:extLst>
              <a:ext uri="{FF2B5EF4-FFF2-40B4-BE49-F238E27FC236}">
                <a16:creationId xmlns:a16="http://schemas.microsoft.com/office/drawing/2014/main" id="{B172C5A0-91A0-DCE4-D3C4-537C8EF8D3F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541384" y="3296365"/>
            <a:ext cx="631151" cy="631150"/>
          </a:xfrm>
          <a:prstGeom prst="rect">
            <a:avLst/>
          </a:prstGeom>
        </p:spPr>
      </p:pic>
      <p:pic>
        <p:nvPicPr>
          <p:cNvPr id="151" name="Graphic 150" descr="Plant">
            <a:extLst>
              <a:ext uri="{FF2B5EF4-FFF2-40B4-BE49-F238E27FC236}">
                <a16:creationId xmlns:a16="http://schemas.microsoft.com/office/drawing/2014/main" id="{5C2FC643-B4DF-718E-0C58-5244E9B9D07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310014" y="4542235"/>
            <a:ext cx="580280" cy="580280"/>
          </a:xfrm>
          <a:prstGeom prst="rect">
            <a:avLst/>
          </a:prstGeom>
        </p:spPr>
      </p:pic>
      <p:pic>
        <p:nvPicPr>
          <p:cNvPr id="152" name="Graphic 151" descr="Factory">
            <a:extLst>
              <a:ext uri="{FF2B5EF4-FFF2-40B4-BE49-F238E27FC236}">
                <a16:creationId xmlns:a16="http://schemas.microsoft.com/office/drawing/2014/main" id="{AEE9995D-FFCB-B510-3AD3-C4896CCD51A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515812" y="4487906"/>
            <a:ext cx="688936" cy="688937"/>
          </a:xfrm>
          <a:prstGeom prst="rect">
            <a:avLst/>
          </a:prstGeom>
        </p:spPr>
      </p:pic>
      <p:pic>
        <p:nvPicPr>
          <p:cNvPr id="153" name="Graphic 152" descr="Lecturer">
            <a:extLst>
              <a:ext uri="{FF2B5EF4-FFF2-40B4-BE49-F238E27FC236}">
                <a16:creationId xmlns:a16="http://schemas.microsoft.com/office/drawing/2014/main" id="{8F994509-AA86-2958-11C6-CF186A3F13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0158031" y="4546670"/>
            <a:ext cx="630174" cy="630173"/>
          </a:xfrm>
          <a:prstGeom prst="rect">
            <a:avLst/>
          </a:prstGeom>
        </p:spPr>
      </p:pic>
      <p:pic>
        <p:nvPicPr>
          <p:cNvPr id="154" name="Graphic 153" descr="Shield Tick">
            <a:extLst>
              <a:ext uri="{FF2B5EF4-FFF2-40B4-BE49-F238E27FC236}">
                <a16:creationId xmlns:a16="http://schemas.microsoft.com/office/drawing/2014/main" id="{125D1B17-0482-1BD1-3BC2-933DDAF641C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973961" y="4461955"/>
            <a:ext cx="631632" cy="631632"/>
          </a:xfrm>
          <a:prstGeom prst="rect">
            <a:avLst/>
          </a:prstGeom>
        </p:spPr>
      </p:pic>
      <p:pic>
        <p:nvPicPr>
          <p:cNvPr id="155" name="Graphic 154" descr="Money">
            <a:extLst>
              <a:ext uri="{FF2B5EF4-FFF2-40B4-BE49-F238E27FC236}">
                <a16:creationId xmlns:a16="http://schemas.microsoft.com/office/drawing/2014/main" id="{AB1E46C8-AE71-28D2-CB5E-A5B16BB7EE60}"/>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267923" y="5736816"/>
            <a:ext cx="724960" cy="724960"/>
          </a:xfrm>
          <a:prstGeom prst="rect">
            <a:avLst/>
          </a:prstGeom>
        </p:spPr>
      </p:pic>
      <p:pic>
        <p:nvPicPr>
          <p:cNvPr id="156" name="Graphic 155" descr="Ui Ux with solid fill">
            <a:extLst>
              <a:ext uri="{FF2B5EF4-FFF2-40B4-BE49-F238E27FC236}">
                <a16:creationId xmlns:a16="http://schemas.microsoft.com/office/drawing/2014/main" id="{EF56443E-4883-0B3C-8077-3CADCFD0DF2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492898" y="5897880"/>
            <a:ext cx="675422" cy="675422"/>
          </a:xfrm>
          <a:prstGeom prst="rect">
            <a:avLst/>
          </a:prstGeom>
        </p:spPr>
      </p:pic>
      <p:pic>
        <p:nvPicPr>
          <p:cNvPr id="157" name="Graphic 156" descr="Workflow with solid fill">
            <a:extLst>
              <a:ext uri="{FF2B5EF4-FFF2-40B4-BE49-F238E27FC236}">
                <a16:creationId xmlns:a16="http://schemas.microsoft.com/office/drawing/2014/main" id="{824F61D0-FDAE-025C-90F6-8A001B288374}"/>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681165" y="4423682"/>
            <a:ext cx="750198" cy="750198"/>
          </a:xfrm>
          <a:prstGeom prst="rect">
            <a:avLst/>
          </a:prstGeom>
        </p:spPr>
      </p:pic>
      <p:grpSp>
        <p:nvGrpSpPr>
          <p:cNvPr id="158" name="Analytics9" descr="{&quot;Key&quot;:&quot;POWER_USER_SHAPE_ICON&quot;,&quot;Value&quot;:&quot;POWER_USER_SHAPE_ICON_STYLE_1&quot;}">
            <a:extLst>
              <a:ext uri="{FF2B5EF4-FFF2-40B4-BE49-F238E27FC236}">
                <a16:creationId xmlns:a16="http://schemas.microsoft.com/office/drawing/2014/main" id="{247EB154-9B8E-73FD-2105-2C4DDCE815FB}"/>
              </a:ext>
            </a:extLst>
          </p:cNvPr>
          <p:cNvGrpSpPr>
            <a:grpSpLocks noChangeAspect="1"/>
          </p:cNvGrpSpPr>
          <p:nvPr>
            <p:custDataLst>
              <p:tags r:id="rId3"/>
            </p:custDataLst>
          </p:nvPr>
        </p:nvGrpSpPr>
        <p:grpSpPr>
          <a:xfrm>
            <a:off x="5757358" y="5844193"/>
            <a:ext cx="651145" cy="499237"/>
            <a:chOff x="4157663" y="1574800"/>
            <a:chExt cx="935038" cy="793750"/>
          </a:xfrm>
          <a:solidFill>
            <a:schemeClr val="tx1"/>
          </a:solidFill>
        </p:grpSpPr>
        <p:sp>
          <p:nvSpPr>
            <p:cNvPr id="159" name="Freeform 127">
              <a:extLst>
                <a:ext uri="{FF2B5EF4-FFF2-40B4-BE49-F238E27FC236}">
                  <a16:creationId xmlns:a16="http://schemas.microsoft.com/office/drawing/2014/main" id="{DEF0669F-7087-F604-395F-BA3F9B0BC6BB}"/>
                </a:ext>
              </a:extLst>
            </p:cNvPr>
            <p:cNvSpPr>
              <a:spLocks/>
            </p:cNvSpPr>
            <p:nvPr/>
          </p:nvSpPr>
          <p:spPr bwMode="auto">
            <a:xfrm>
              <a:off x="4157663" y="1846262"/>
              <a:ext cx="306388" cy="177800"/>
            </a:xfrm>
            <a:custGeom>
              <a:avLst/>
              <a:gdLst>
                <a:gd name="T0" fmla="*/ 74 w 402"/>
                <a:gd name="T1" fmla="*/ 196 h 233"/>
                <a:gd name="T2" fmla="*/ 72 w 402"/>
                <a:gd name="T3" fmla="*/ 184 h 233"/>
                <a:gd name="T4" fmla="*/ 127 w 402"/>
                <a:gd name="T5" fmla="*/ 122 h 233"/>
                <a:gd name="T6" fmla="*/ 142 w 402"/>
                <a:gd name="T7" fmla="*/ 126 h 233"/>
                <a:gd name="T8" fmla="*/ 172 w 402"/>
                <a:gd name="T9" fmla="*/ 110 h 233"/>
                <a:gd name="T10" fmla="*/ 240 w 402"/>
                <a:gd name="T11" fmla="*/ 134 h 233"/>
                <a:gd name="T12" fmla="*/ 240 w 402"/>
                <a:gd name="T13" fmla="*/ 134 h 233"/>
                <a:gd name="T14" fmla="*/ 277 w 402"/>
                <a:gd name="T15" fmla="*/ 171 h 233"/>
                <a:gd name="T16" fmla="*/ 314 w 402"/>
                <a:gd name="T17" fmla="*/ 134 h 233"/>
                <a:gd name="T18" fmla="*/ 310 w 402"/>
                <a:gd name="T19" fmla="*/ 118 h 233"/>
                <a:gd name="T20" fmla="*/ 354 w 402"/>
                <a:gd name="T21" fmla="*/ 72 h 233"/>
                <a:gd name="T22" fmla="*/ 365 w 402"/>
                <a:gd name="T23" fmla="*/ 74 h 233"/>
                <a:gd name="T24" fmla="*/ 402 w 402"/>
                <a:gd name="T25" fmla="*/ 37 h 233"/>
                <a:gd name="T26" fmla="*/ 365 w 402"/>
                <a:gd name="T27" fmla="*/ 0 h 233"/>
                <a:gd name="T28" fmla="*/ 329 w 402"/>
                <a:gd name="T29" fmla="*/ 37 h 233"/>
                <a:gd name="T30" fmla="*/ 331 w 402"/>
                <a:gd name="T31" fmla="*/ 50 h 233"/>
                <a:gd name="T32" fmla="*/ 285 w 402"/>
                <a:gd name="T33" fmla="*/ 99 h 233"/>
                <a:gd name="T34" fmla="*/ 277 w 402"/>
                <a:gd name="T35" fmla="*/ 97 h 233"/>
                <a:gd name="T36" fmla="*/ 254 w 402"/>
                <a:gd name="T37" fmla="*/ 105 h 233"/>
                <a:gd name="T38" fmla="*/ 177 w 402"/>
                <a:gd name="T39" fmla="*/ 78 h 233"/>
                <a:gd name="T40" fmla="*/ 142 w 402"/>
                <a:gd name="T41" fmla="*/ 52 h 233"/>
                <a:gd name="T42" fmla="*/ 105 w 402"/>
                <a:gd name="T43" fmla="*/ 89 h 233"/>
                <a:gd name="T44" fmla="*/ 106 w 402"/>
                <a:gd name="T45" fmla="*/ 98 h 233"/>
                <a:gd name="T46" fmla="*/ 50 w 402"/>
                <a:gd name="T47" fmla="*/ 162 h 233"/>
                <a:gd name="T48" fmla="*/ 37 w 402"/>
                <a:gd name="T49" fmla="*/ 159 h 233"/>
                <a:gd name="T50" fmla="*/ 0 w 402"/>
                <a:gd name="T51" fmla="*/ 196 h 233"/>
                <a:gd name="T52" fmla="*/ 37 w 402"/>
                <a:gd name="T53" fmla="*/ 233 h 233"/>
                <a:gd name="T54" fmla="*/ 74 w 402"/>
                <a:gd name="T55" fmla="*/ 19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2" h="233">
                  <a:moveTo>
                    <a:pt x="74" y="196"/>
                  </a:moveTo>
                  <a:cubicBezTo>
                    <a:pt x="74" y="192"/>
                    <a:pt x="73" y="188"/>
                    <a:pt x="72" y="184"/>
                  </a:cubicBezTo>
                  <a:lnTo>
                    <a:pt x="127" y="122"/>
                  </a:lnTo>
                  <a:cubicBezTo>
                    <a:pt x="131" y="124"/>
                    <a:pt x="136" y="126"/>
                    <a:pt x="142" y="126"/>
                  </a:cubicBezTo>
                  <a:cubicBezTo>
                    <a:pt x="154" y="126"/>
                    <a:pt x="165" y="119"/>
                    <a:pt x="172" y="110"/>
                  </a:cubicBezTo>
                  <a:lnTo>
                    <a:pt x="240" y="134"/>
                  </a:lnTo>
                  <a:cubicBezTo>
                    <a:pt x="240" y="134"/>
                    <a:pt x="240" y="134"/>
                    <a:pt x="240" y="134"/>
                  </a:cubicBezTo>
                  <a:cubicBezTo>
                    <a:pt x="240" y="155"/>
                    <a:pt x="257" y="171"/>
                    <a:pt x="277" y="171"/>
                  </a:cubicBezTo>
                  <a:cubicBezTo>
                    <a:pt x="297" y="171"/>
                    <a:pt x="314" y="155"/>
                    <a:pt x="314" y="134"/>
                  </a:cubicBezTo>
                  <a:cubicBezTo>
                    <a:pt x="314" y="128"/>
                    <a:pt x="312" y="123"/>
                    <a:pt x="310" y="118"/>
                  </a:cubicBezTo>
                  <a:lnTo>
                    <a:pt x="354" y="72"/>
                  </a:lnTo>
                  <a:cubicBezTo>
                    <a:pt x="357" y="73"/>
                    <a:pt x="361" y="74"/>
                    <a:pt x="365" y="74"/>
                  </a:cubicBezTo>
                  <a:cubicBezTo>
                    <a:pt x="386" y="74"/>
                    <a:pt x="402" y="57"/>
                    <a:pt x="402" y="37"/>
                  </a:cubicBezTo>
                  <a:cubicBezTo>
                    <a:pt x="402" y="17"/>
                    <a:pt x="386" y="0"/>
                    <a:pt x="365" y="0"/>
                  </a:cubicBezTo>
                  <a:cubicBezTo>
                    <a:pt x="345" y="0"/>
                    <a:pt x="329" y="17"/>
                    <a:pt x="329" y="37"/>
                  </a:cubicBezTo>
                  <a:cubicBezTo>
                    <a:pt x="329" y="42"/>
                    <a:pt x="329" y="46"/>
                    <a:pt x="331" y="50"/>
                  </a:cubicBezTo>
                  <a:lnTo>
                    <a:pt x="285" y="99"/>
                  </a:lnTo>
                  <a:cubicBezTo>
                    <a:pt x="283" y="98"/>
                    <a:pt x="280" y="97"/>
                    <a:pt x="277" y="97"/>
                  </a:cubicBezTo>
                  <a:cubicBezTo>
                    <a:pt x="268" y="97"/>
                    <a:pt x="261" y="101"/>
                    <a:pt x="254" y="105"/>
                  </a:cubicBezTo>
                  <a:lnTo>
                    <a:pt x="177" y="78"/>
                  </a:lnTo>
                  <a:cubicBezTo>
                    <a:pt x="172" y="63"/>
                    <a:pt x="158" y="52"/>
                    <a:pt x="142" y="52"/>
                  </a:cubicBezTo>
                  <a:cubicBezTo>
                    <a:pt x="121" y="52"/>
                    <a:pt x="105" y="68"/>
                    <a:pt x="105" y="89"/>
                  </a:cubicBezTo>
                  <a:cubicBezTo>
                    <a:pt x="105" y="92"/>
                    <a:pt x="106" y="95"/>
                    <a:pt x="106" y="98"/>
                  </a:cubicBezTo>
                  <a:lnTo>
                    <a:pt x="50" y="162"/>
                  </a:lnTo>
                  <a:cubicBezTo>
                    <a:pt x="46" y="160"/>
                    <a:pt x="42" y="159"/>
                    <a:pt x="37" y="159"/>
                  </a:cubicBezTo>
                  <a:cubicBezTo>
                    <a:pt x="17" y="159"/>
                    <a:pt x="0" y="175"/>
                    <a:pt x="0" y="196"/>
                  </a:cubicBezTo>
                  <a:cubicBezTo>
                    <a:pt x="0" y="216"/>
                    <a:pt x="17" y="233"/>
                    <a:pt x="37" y="233"/>
                  </a:cubicBezTo>
                  <a:cubicBezTo>
                    <a:pt x="57" y="233"/>
                    <a:pt x="74" y="216"/>
                    <a:pt x="74" y="1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0" name="Rectangle 128">
              <a:extLst>
                <a:ext uri="{FF2B5EF4-FFF2-40B4-BE49-F238E27FC236}">
                  <a16:creationId xmlns:a16="http://schemas.microsoft.com/office/drawing/2014/main" id="{783026FF-FE0D-8851-B1CC-163F0926D24A}"/>
                </a:ext>
              </a:extLst>
            </p:cNvPr>
            <p:cNvSpPr>
              <a:spLocks noChangeArrowheads="1"/>
            </p:cNvSpPr>
            <p:nvPr/>
          </p:nvSpPr>
          <p:spPr bwMode="auto">
            <a:xfrm>
              <a:off x="4230688" y="1662112"/>
              <a:ext cx="46038" cy="1270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1" name="Rectangle 129">
              <a:extLst>
                <a:ext uri="{FF2B5EF4-FFF2-40B4-BE49-F238E27FC236}">
                  <a16:creationId xmlns:a16="http://schemas.microsoft.com/office/drawing/2014/main" id="{5B78FA66-23A9-5E21-DC01-6AFC50E57524}"/>
                </a:ext>
              </a:extLst>
            </p:cNvPr>
            <p:cNvSpPr>
              <a:spLocks noChangeArrowheads="1"/>
            </p:cNvSpPr>
            <p:nvPr/>
          </p:nvSpPr>
          <p:spPr bwMode="auto">
            <a:xfrm>
              <a:off x="4394201" y="1630362"/>
              <a:ext cx="47625" cy="158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2" name="Rectangle 130">
              <a:extLst>
                <a:ext uri="{FF2B5EF4-FFF2-40B4-BE49-F238E27FC236}">
                  <a16:creationId xmlns:a16="http://schemas.microsoft.com/office/drawing/2014/main" id="{71CD5021-AAF3-E3DB-D203-EC0D15B0EB56}"/>
                </a:ext>
              </a:extLst>
            </p:cNvPr>
            <p:cNvSpPr>
              <a:spLocks noChangeArrowheads="1"/>
            </p:cNvSpPr>
            <p:nvPr/>
          </p:nvSpPr>
          <p:spPr bwMode="auto">
            <a:xfrm>
              <a:off x="4313238" y="1574800"/>
              <a:ext cx="46038" cy="2143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3" name="Freeform 131">
              <a:extLst>
                <a:ext uri="{FF2B5EF4-FFF2-40B4-BE49-F238E27FC236}">
                  <a16:creationId xmlns:a16="http://schemas.microsoft.com/office/drawing/2014/main" id="{389F0BCE-15D7-5EC2-D3E1-550AF0C15B7F}"/>
                </a:ext>
              </a:extLst>
            </p:cNvPr>
            <p:cNvSpPr>
              <a:spLocks/>
            </p:cNvSpPr>
            <p:nvPr/>
          </p:nvSpPr>
          <p:spPr bwMode="auto">
            <a:xfrm>
              <a:off x="4814888" y="1701800"/>
              <a:ext cx="130175" cy="222250"/>
            </a:xfrm>
            <a:custGeom>
              <a:avLst/>
              <a:gdLst>
                <a:gd name="T0" fmla="*/ 57 w 170"/>
                <a:gd name="T1" fmla="*/ 61 h 292"/>
                <a:gd name="T2" fmla="*/ 64 w 170"/>
                <a:gd name="T3" fmla="*/ 292 h 292"/>
                <a:gd name="T4" fmla="*/ 170 w 170"/>
                <a:gd name="T5" fmla="*/ 165 h 292"/>
                <a:gd name="T6" fmla="*/ 170 w 170"/>
                <a:gd name="T7" fmla="*/ 0 h 292"/>
                <a:gd name="T8" fmla="*/ 57 w 170"/>
                <a:gd name="T9" fmla="*/ 61 h 292"/>
              </a:gdLst>
              <a:ahLst/>
              <a:cxnLst>
                <a:cxn ang="0">
                  <a:pos x="T0" y="T1"/>
                </a:cxn>
                <a:cxn ang="0">
                  <a:pos x="T2" y="T3"/>
                </a:cxn>
                <a:cxn ang="0">
                  <a:pos x="T4" y="T5"/>
                </a:cxn>
                <a:cxn ang="0">
                  <a:pos x="T6" y="T7"/>
                </a:cxn>
                <a:cxn ang="0">
                  <a:pos x="T8" y="T9"/>
                </a:cxn>
              </a:cxnLst>
              <a:rect l="0" t="0" r="r" b="b"/>
              <a:pathLst>
                <a:path w="170" h="292">
                  <a:moveTo>
                    <a:pt x="57" y="61"/>
                  </a:moveTo>
                  <a:cubicBezTo>
                    <a:pt x="0" y="129"/>
                    <a:pt x="4" y="229"/>
                    <a:pt x="64" y="292"/>
                  </a:cubicBezTo>
                  <a:lnTo>
                    <a:pt x="170" y="165"/>
                  </a:lnTo>
                  <a:lnTo>
                    <a:pt x="170" y="0"/>
                  </a:lnTo>
                  <a:cubicBezTo>
                    <a:pt x="125" y="5"/>
                    <a:pt x="87" y="25"/>
                    <a:pt x="57" y="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4" name="Freeform 132">
              <a:extLst>
                <a:ext uri="{FF2B5EF4-FFF2-40B4-BE49-F238E27FC236}">
                  <a16:creationId xmlns:a16="http://schemas.microsoft.com/office/drawing/2014/main" id="{764DD864-78ED-1529-EFFB-E32F42AFCDFA}"/>
                </a:ext>
              </a:extLst>
            </p:cNvPr>
            <p:cNvSpPr>
              <a:spLocks/>
            </p:cNvSpPr>
            <p:nvPr/>
          </p:nvSpPr>
          <p:spPr bwMode="auto">
            <a:xfrm>
              <a:off x="4887913" y="1851025"/>
              <a:ext cx="200025" cy="115888"/>
            </a:xfrm>
            <a:custGeom>
              <a:avLst/>
              <a:gdLst>
                <a:gd name="T0" fmla="*/ 103 w 261"/>
                <a:gd name="T1" fmla="*/ 0 h 151"/>
                <a:gd name="T2" fmla="*/ 0 w 261"/>
                <a:gd name="T3" fmla="*/ 123 h 151"/>
                <a:gd name="T4" fmla="*/ 64 w 261"/>
                <a:gd name="T5" fmla="*/ 148 h 151"/>
                <a:gd name="T6" fmla="*/ 95 w 261"/>
                <a:gd name="T7" fmla="*/ 151 h 151"/>
                <a:gd name="T8" fmla="*/ 261 w 261"/>
                <a:gd name="T9" fmla="*/ 27 h 151"/>
                <a:gd name="T10" fmla="*/ 103 w 261"/>
                <a:gd name="T11" fmla="*/ 0 h 151"/>
              </a:gdLst>
              <a:ahLst/>
              <a:cxnLst>
                <a:cxn ang="0">
                  <a:pos x="T0" y="T1"/>
                </a:cxn>
                <a:cxn ang="0">
                  <a:pos x="T2" y="T3"/>
                </a:cxn>
                <a:cxn ang="0">
                  <a:pos x="T4" y="T5"/>
                </a:cxn>
                <a:cxn ang="0">
                  <a:pos x="T6" y="T7"/>
                </a:cxn>
                <a:cxn ang="0">
                  <a:pos x="T8" y="T9"/>
                </a:cxn>
                <a:cxn ang="0">
                  <a:pos x="T10" y="T11"/>
                </a:cxn>
              </a:cxnLst>
              <a:rect l="0" t="0" r="r" b="b"/>
              <a:pathLst>
                <a:path w="261" h="151">
                  <a:moveTo>
                    <a:pt x="103" y="0"/>
                  </a:moveTo>
                  <a:lnTo>
                    <a:pt x="0" y="123"/>
                  </a:lnTo>
                  <a:cubicBezTo>
                    <a:pt x="19" y="136"/>
                    <a:pt x="40" y="144"/>
                    <a:pt x="64" y="148"/>
                  </a:cubicBezTo>
                  <a:cubicBezTo>
                    <a:pt x="75" y="150"/>
                    <a:pt x="85" y="151"/>
                    <a:pt x="95" y="151"/>
                  </a:cubicBezTo>
                  <a:cubicBezTo>
                    <a:pt x="172" y="151"/>
                    <a:pt x="239" y="100"/>
                    <a:pt x="261" y="27"/>
                  </a:cubicBezTo>
                  <a:lnTo>
                    <a:pt x="10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5" name="Freeform 133">
              <a:extLst>
                <a:ext uri="{FF2B5EF4-FFF2-40B4-BE49-F238E27FC236}">
                  <a16:creationId xmlns:a16="http://schemas.microsoft.com/office/drawing/2014/main" id="{C4C317DD-7791-378A-6962-F77EDC82B6EE}"/>
                </a:ext>
              </a:extLst>
            </p:cNvPr>
            <p:cNvSpPr>
              <a:spLocks/>
            </p:cNvSpPr>
            <p:nvPr/>
          </p:nvSpPr>
          <p:spPr bwMode="auto">
            <a:xfrm>
              <a:off x="4976813" y="1701800"/>
              <a:ext cx="115888" cy="138113"/>
            </a:xfrm>
            <a:custGeom>
              <a:avLst/>
              <a:gdLst>
                <a:gd name="T0" fmla="*/ 0 w 153"/>
                <a:gd name="T1" fmla="*/ 0 h 182"/>
                <a:gd name="T2" fmla="*/ 0 w 153"/>
                <a:gd name="T3" fmla="*/ 155 h 182"/>
                <a:gd name="T4" fmla="*/ 152 w 153"/>
                <a:gd name="T5" fmla="*/ 182 h 182"/>
                <a:gd name="T6" fmla="*/ 153 w 153"/>
                <a:gd name="T7" fmla="*/ 173 h 182"/>
                <a:gd name="T8" fmla="*/ 0 w 153"/>
                <a:gd name="T9" fmla="*/ 0 h 182"/>
              </a:gdLst>
              <a:ahLst/>
              <a:cxnLst>
                <a:cxn ang="0">
                  <a:pos x="T0" y="T1"/>
                </a:cxn>
                <a:cxn ang="0">
                  <a:pos x="T2" y="T3"/>
                </a:cxn>
                <a:cxn ang="0">
                  <a:pos x="T4" y="T5"/>
                </a:cxn>
                <a:cxn ang="0">
                  <a:pos x="T6" y="T7"/>
                </a:cxn>
                <a:cxn ang="0">
                  <a:pos x="T8" y="T9"/>
                </a:cxn>
              </a:cxnLst>
              <a:rect l="0" t="0" r="r" b="b"/>
              <a:pathLst>
                <a:path w="153" h="182">
                  <a:moveTo>
                    <a:pt x="0" y="0"/>
                  </a:moveTo>
                  <a:lnTo>
                    <a:pt x="0" y="155"/>
                  </a:lnTo>
                  <a:lnTo>
                    <a:pt x="152" y="182"/>
                  </a:lnTo>
                  <a:cubicBezTo>
                    <a:pt x="153" y="179"/>
                    <a:pt x="153" y="176"/>
                    <a:pt x="153" y="173"/>
                  </a:cubicBezTo>
                  <a:cubicBezTo>
                    <a:pt x="153" y="84"/>
                    <a:pt x="86" y="1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6" name="Oval 134">
              <a:extLst>
                <a:ext uri="{FF2B5EF4-FFF2-40B4-BE49-F238E27FC236}">
                  <a16:creationId xmlns:a16="http://schemas.microsoft.com/office/drawing/2014/main" id="{DDD0431B-1081-3A57-3EFA-2C07AEE64403}"/>
                </a:ext>
              </a:extLst>
            </p:cNvPr>
            <p:cNvSpPr>
              <a:spLocks noChangeArrowheads="1"/>
            </p:cNvSpPr>
            <p:nvPr/>
          </p:nvSpPr>
          <p:spPr bwMode="auto">
            <a:xfrm>
              <a:off x="4495801" y="1604962"/>
              <a:ext cx="296863" cy="2968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7" name="Freeform 135">
              <a:extLst>
                <a:ext uri="{FF2B5EF4-FFF2-40B4-BE49-F238E27FC236}">
                  <a16:creationId xmlns:a16="http://schemas.microsoft.com/office/drawing/2014/main" id="{72892451-03EA-F801-5D5C-9FE609B84068}"/>
                </a:ext>
              </a:extLst>
            </p:cNvPr>
            <p:cNvSpPr>
              <a:spLocks noEditPoints="1"/>
            </p:cNvSpPr>
            <p:nvPr/>
          </p:nvSpPr>
          <p:spPr bwMode="auto">
            <a:xfrm>
              <a:off x="4310063" y="1925637"/>
              <a:ext cx="668338" cy="442913"/>
            </a:xfrm>
            <a:custGeom>
              <a:avLst/>
              <a:gdLst>
                <a:gd name="T0" fmla="*/ 697 w 879"/>
                <a:gd name="T1" fmla="*/ 542 h 580"/>
                <a:gd name="T2" fmla="*/ 181 w 879"/>
                <a:gd name="T3" fmla="*/ 542 h 580"/>
                <a:gd name="T4" fmla="*/ 181 w 879"/>
                <a:gd name="T5" fmla="*/ 223 h 580"/>
                <a:gd name="T6" fmla="*/ 201 w 879"/>
                <a:gd name="T7" fmla="*/ 203 h 580"/>
                <a:gd name="T8" fmla="*/ 677 w 879"/>
                <a:gd name="T9" fmla="*/ 203 h 580"/>
                <a:gd name="T10" fmla="*/ 697 w 879"/>
                <a:gd name="T11" fmla="*/ 223 h 580"/>
                <a:gd name="T12" fmla="*/ 697 w 879"/>
                <a:gd name="T13" fmla="*/ 542 h 580"/>
                <a:gd name="T14" fmla="*/ 562 w 879"/>
                <a:gd name="T15" fmla="*/ 4 h 580"/>
                <a:gd name="T16" fmla="*/ 439 w 879"/>
                <a:gd name="T17" fmla="*/ 101 h 580"/>
                <a:gd name="T18" fmla="*/ 312 w 879"/>
                <a:gd name="T19" fmla="*/ 0 h 580"/>
                <a:gd name="T20" fmla="*/ 96 w 879"/>
                <a:gd name="T21" fmla="*/ 241 h 580"/>
                <a:gd name="T22" fmla="*/ 96 w 879"/>
                <a:gd name="T23" fmla="*/ 322 h 580"/>
                <a:gd name="T24" fmla="*/ 0 w 879"/>
                <a:gd name="T25" fmla="*/ 322 h 580"/>
                <a:gd name="T26" fmla="*/ 0 w 879"/>
                <a:gd name="T27" fmla="*/ 371 h 580"/>
                <a:gd name="T28" fmla="*/ 144 w 879"/>
                <a:gd name="T29" fmla="*/ 371 h 580"/>
                <a:gd name="T30" fmla="*/ 144 w 879"/>
                <a:gd name="T31" fmla="*/ 431 h 580"/>
                <a:gd name="T32" fmla="*/ 120 w 879"/>
                <a:gd name="T33" fmla="*/ 431 h 580"/>
                <a:gd name="T34" fmla="*/ 100 w 879"/>
                <a:gd name="T35" fmla="*/ 442 h 580"/>
                <a:gd name="T36" fmla="*/ 97 w 879"/>
                <a:gd name="T37" fmla="*/ 464 h 580"/>
                <a:gd name="T38" fmla="*/ 133 w 879"/>
                <a:gd name="T39" fmla="*/ 563 h 580"/>
                <a:gd name="T40" fmla="*/ 156 w 879"/>
                <a:gd name="T41" fmla="*/ 580 h 580"/>
                <a:gd name="T42" fmla="*/ 722 w 879"/>
                <a:gd name="T43" fmla="*/ 580 h 580"/>
                <a:gd name="T44" fmla="*/ 745 w 879"/>
                <a:gd name="T45" fmla="*/ 563 h 580"/>
                <a:gd name="T46" fmla="*/ 781 w 879"/>
                <a:gd name="T47" fmla="*/ 464 h 580"/>
                <a:gd name="T48" fmla="*/ 779 w 879"/>
                <a:gd name="T49" fmla="*/ 442 h 580"/>
                <a:gd name="T50" fmla="*/ 758 w 879"/>
                <a:gd name="T51" fmla="*/ 431 h 580"/>
                <a:gd name="T52" fmla="*/ 734 w 879"/>
                <a:gd name="T53" fmla="*/ 431 h 580"/>
                <a:gd name="T54" fmla="*/ 734 w 879"/>
                <a:gd name="T55" fmla="*/ 371 h 580"/>
                <a:gd name="T56" fmla="*/ 879 w 879"/>
                <a:gd name="T57" fmla="*/ 371 h 580"/>
                <a:gd name="T58" fmla="*/ 879 w 879"/>
                <a:gd name="T59" fmla="*/ 322 h 580"/>
                <a:gd name="T60" fmla="*/ 782 w 879"/>
                <a:gd name="T61" fmla="*/ 322 h 580"/>
                <a:gd name="T62" fmla="*/ 782 w 879"/>
                <a:gd name="T63" fmla="*/ 241 h 580"/>
                <a:gd name="T64" fmla="*/ 562 w 879"/>
                <a:gd name="T65" fmla="*/ 4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9" h="580">
                  <a:moveTo>
                    <a:pt x="697" y="542"/>
                  </a:moveTo>
                  <a:lnTo>
                    <a:pt x="181" y="542"/>
                  </a:lnTo>
                  <a:lnTo>
                    <a:pt x="181" y="223"/>
                  </a:lnTo>
                  <a:cubicBezTo>
                    <a:pt x="181" y="212"/>
                    <a:pt x="190" y="203"/>
                    <a:pt x="201" y="203"/>
                  </a:cubicBezTo>
                  <a:lnTo>
                    <a:pt x="677" y="203"/>
                  </a:lnTo>
                  <a:cubicBezTo>
                    <a:pt x="688" y="203"/>
                    <a:pt x="697" y="212"/>
                    <a:pt x="697" y="223"/>
                  </a:cubicBezTo>
                  <a:lnTo>
                    <a:pt x="697" y="542"/>
                  </a:lnTo>
                  <a:close/>
                  <a:moveTo>
                    <a:pt x="562" y="4"/>
                  </a:moveTo>
                  <a:lnTo>
                    <a:pt x="439" y="101"/>
                  </a:lnTo>
                  <a:lnTo>
                    <a:pt x="312" y="0"/>
                  </a:lnTo>
                  <a:cubicBezTo>
                    <a:pt x="185" y="25"/>
                    <a:pt x="96" y="95"/>
                    <a:pt x="96" y="241"/>
                  </a:cubicBezTo>
                  <a:lnTo>
                    <a:pt x="96" y="322"/>
                  </a:lnTo>
                  <a:lnTo>
                    <a:pt x="0" y="322"/>
                  </a:lnTo>
                  <a:lnTo>
                    <a:pt x="0" y="371"/>
                  </a:lnTo>
                  <a:lnTo>
                    <a:pt x="144" y="371"/>
                  </a:lnTo>
                  <a:lnTo>
                    <a:pt x="144" y="431"/>
                  </a:lnTo>
                  <a:lnTo>
                    <a:pt x="120" y="431"/>
                  </a:lnTo>
                  <a:cubicBezTo>
                    <a:pt x="112" y="431"/>
                    <a:pt x="104" y="435"/>
                    <a:pt x="100" y="442"/>
                  </a:cubicBezTo>
                  <a:cubicBezTo>
                    <a:pt x="95" y="448"/>
                    <a:pt x="94" y="457"/>
                    <a:pt x="97" y="464"/>
                  </a:cubicBezTo>
                  <a:lnTo>
                    <a:pt x="133" y="563"/>
                  </a:lnTo>
                  <a:cubicBezTo>
                    <a:pt x="136" y="573"/>
                    <a:pt x="146" y="580"/>
                    <a:pt x="156" y="580"/>
                  </a:cubicBezTo>
                  <a:lnTo>
                    <a:pt x="722" y="580"/>
                  </a:lnTo>
                  <a:cubicBezTo>
                    <a:pt x="733" y="580"/>
                    <a:pt x="742" y="573"/>
                    <a:pt x="745" y="563"/>
                  </a:cubicBezTo>
                  <a:lnTo>
                    <a:pt x="781" y="464"/>
                  </a:lnTo>
                  <a:cubicBezTo>
                    <a:pt x="784" y="456"/>
                    <a:pt x="783" y="448"/>
                    <a:pt x="779" y="442"/>
                  </a:cubicBezTo>
                  <a:cubicBezTo>
                    <a:pt x="774" y="435"/>
                    <a:pt x="766" y="431"/>
                    <a:pt x="758" y="431"/>
                  </a:cubicBezTo>
                  <a:lnTo>
                    <a:pt x="734" y="431"/>
                  </a:lnTo>
                  <a:lnTo>
                    <a:pt x="734" y="371"/>
                  </a:lnTo>
                  <a:lnTo>
                    <a:pt x="879" y="371"/>
                  </a:lnTo>
                  <a:lnTo>
                    <a:pt x="879" y="322"/>
                  </a:lnTo>
                  <a:lnTo>
                    <a:pt x="782" y="322"/>
                  </a:lnTo>
                  <a:lnTo>
                    <a:pt x="782" y="241"/>
                  </a:lnTo>
                  <a:cubicBezTo>
                    <a:pt x="782" y="118"/>
                    <a:pt x="691" y="35"/>
                    <a:pt x="562"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8" name="Oval 136">
              <a:extLst>
                <a:ext uri="{FF2B5EF4-FFF2-40B4-BE49-F238E27FC236}">
                  <a16:creationId xmlns:a16="http://schemas.microsoft.com/office/drawing/2014/main" id="{109B376D-CFEA-FA66-3CCA-216F4269A6FD}"/>
                </a:ext>
              </a:extLst>
            </p:cNvPr>
            <p:cNvSpPr>
              <a:spLocks noChangeArrowheads="1"/>
            </p:cNvSpPr>
            <p:nvPr/>
          </p:nvSpPr>
          <p:spPr bwMode="auto">
            <a:xfrm>
              <a:off x="4610101" y="2179637"/>
              <a:ext cx="68263" cy="698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grpSp>
      <p:pic>
        <p:nvPicPr>
          <p:cNvPr id="6" name="Graphic 5" descr="Upward trend with solid fill">
            <a:extLst>
              <a:ext uri="{FF2B5EF4-FFF2-40B4-BE49-F238E27FC236}">
                <a16:creationId xmlns:a16="http://schemas.microsoft.com/office/drawing/2014/main" id="{C25DAC37-5C32-50FA-28DC-A2C8E8982FB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51648" y="5817452"/>
            <a:ext cx="597992" cy="597992"/>
          </a:xfrm>
          <a:prstGeom prst="rect">
            <a:avLst/>
          </a:prstGeom>
        </p:spPr>
      </p:pic>
    </p:spTree>
    <p:extLst>
      <p:ext uri="{BB962C8B-B14F-4D97-AF65-F5344CB8AC3E}">
        <p14:creationId xmlns:p14="http://schemas.microsoft.com/office/powerpoint/2010/main" val="2511350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2</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45064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Stakeholder Engagement Strategy</a:t>
            </a:r>
            <a:br>
              <a:rPr lang="en-GB" sz="2400" kern="0" dirty="0"/>
            </a:br>
            <a:r>
              <a:rPr lang="en-GB" b="0" kern="0" dirty="0"/>
              <a:t>Overview</a:t>
            </a:r>
            <a:endParaRPr lang="en-US" sz="2400" b="0" kern="0" dirty="0"/>
          </a:p>
        </p:txBody>
      </p:sp>
      <p:sp>
        <p:nvSpPr>
          <p:cNvPr id="3" name="TextBox 2">
            <a:extLst>
              <a:ext uri="{FF2B5EF4-FFF2-40B4-BE49-F238E27FC236}">
                <a16:creationId xmlns:a16="http://schemas.microsoft.com/office/drawing/2014/main" id="{8632FC85-A938-3496-09B4-D4AC4D187D54}"/>
              </a:ext>
            </a:extLst>
          </p:cNvPr>
          <p:cNvSpPr txBox="1"/>
          <p:nvPr/>
        </p:nvSpPr>
        <p:spPr>
          <a:xfrm>
            <a:off x="547687" y="1570744"/>
            <a:ext cx="10981373" cy="1200329"/>
          </a:xfrm>
          <a:prstGeom prst="rect">
            <a:avLst/>
          </a:prstGeom>
          <a:noFill/>
        </p:spPr>
        <p:txBody>
          <a:bodyPr wrap="square" rtlCol="0">
            <a:spAutoFit/>
          </a:bodyPr>
          <a:lstStyle/>
          <a:p>
            <a:r>
              <a:rPr lang="en-GB" dirty="0"/>
              <a:t>In the context of a project, a stakeholder engagement strategy outlines how we will engage with our stakeholders to achieve our project objectives. </a:t>
            </a:r>
          </a:p>
          <a:p>
            <a:endParaRPr lang="en-GB" dirty="0"/>
          </a:p>
          <a:p>
            <a:r>
              <a:rPr lang="en-GB" dirty="0"/>
              <a:t>A stakeholder engagement strategy can easily be defined by following these 4 steps:</a:t>
            </a:r>
            <a:endParaRPr lang="en-US" dirty="0"/>
          </a:p>
        </p:txBody>
      </p:sp>
      <p:sp>
        <p:nvSpPr>
          <p:cNvPr id="4" name="Rectangle 3">
            <a:extLst>
              <a:ext uri="{FF2B5EF4-FFF2-40B4-BE49-F238E27FC236}">
                <a16:creationId xmlns:a16="http://schemas.microsoft.com/office/drawing/2014/main" id="{4F079D03-EB62-FBC0-FF37-6BEF00CB5A72}"/>
              </a:ext>
            </a:extLst>
          </p:cNvPr>
          <p:cNvSpPr/>
          <p:nvPr/>
        </p:nvSpPr>
        <p:spPr>
          <a:xfrm>
            <a:off x="750224" y="2885373"/>
            <a:ext cx="8416636" cy="79842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5" name="Rectangle 4">
            <a:extLst>
              <a:ext uri="{FF2B5EF4-FFF2-40B4-BE49-F238E27FC236}">
                <a16:creationId xmlns:a16="http://schemas.microsoft.com/office/drawing/2014/main" id="{013454C0-FD63-CE60-9B85-15F78D811AFF}"/>
              </a:ext>
            </a:extLst>
          </p:cNvPr>
          <p:cNvSpPr/>
          <p:nvPr/>
        </p:nvSpPr>
        <p:spPr>
          <a:xfrm>
            <a:off x="822961" y="2893067"/>
            <a:ext cx="706582" cy="783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tx1"/>
                </a:solidFill>
                <a:effectLst/>
                <a:uLnTx/>
                <a:uFillTx/>
                <a:ea typeface="+mn-ea"/>
                <a:cs typeface="+mn-cs"/>
              </a:rPr>
              <a:t>1</a:t>
            </a:r>
          </a:p>
        </p:txBody>
      </p:sp>
      <p:sp>
        <p:nvSpPr>
          <p:cNvPr id="6" name="Rectangle 5">
            <a:extLst>
              <a:ext uri="{FF2B5EF4-FFF2-40B4-BE49-F238E27FC236}">
                <a16:creationId xmlns:a16="http://schemas.microsoft.com/office/drawing/2014/main" id="{FB3C09AE-3298-4E59-7723-58876F81CA3C}"/>
              </a:ext>
            </a:extLst>
          </p:cNvPr>
          <p:cNvSpPr/>
          <p:nvPr/>
        </p:nvSpPr>
        <p:spPr>
          <a:xfrm>
            <a:off x="2028306" y="3176861"/>
            <a:ext cx="612370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1400" b="1" dirty="0">
                <a:solidFill>
                  <a:schemeClr val="tx1"/>
                </a:solidFill>
              </a:rPr>
              <a:t>List the stakeholders who can influence the project or be impacted by it</a:t>
            </a:r>
          </a:p>
        </p:txBody>
      </p:sp>
      <p:sp>
        <p:nvSpPr>
          <p:cNvPr id="8" name="Rectangle 7">
            <a:extLst>
              <a:ext uri="{FF2B5EF4-FFF2-40B4-BE49-F238E27FC236}">
                <a16:creationId xmlns:a16="http://schemas.microsoft.com/office/drawing/2014/main" id="{75A113BC-9A7E-16F4-63F1-5A7AB16A7CEF}"/>
              </a:ext>
            </a:extLst>
          </p:cNvPr>
          <p:cNvSpPr/>
          <p:nvPr/>
        </p:nvSpPr>
        <p:spPr>
          <a:xfrm>
            <a:off x="1718462" y="3001974"/>
            <a:ext cx="79362" cy="5652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
        <p:nvSpPr>
          <p:cNvPr id="23" name="Rectangle 22">
            <a:extLst>
              <a:ext uri="{FF2B5EF4-FFF2-40B4-BE49-F238E27FC236}">
                <a16:creationId xmlns:a16="http://schemas.microsoft.com/office/drawing/2014/main" id="{1634E559-62D7-E825-A6A9-E9DAA21407B7}"/>
              </a:ext>
            </a:extLst>
          </p:cNvPr>
          <p:cNvSpPr/>
          <p:nvPr/>
        </p:nvSpPr>
        <p:spPr>
          <a:xfrm>
            <a:off x="750224" y="3790000"/>
            <a:ext cx="8416636" cy="79842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24" name="Rectangle 23">
            <a:extLst>
              <a:ext uri="{FF2B5EF4-FFF2-40B4-BE49-F238E27FC236}">
                <a16:creationId xmlns:a16="http://schemas.microsoft.com/office/drawing/2014/main" id="{AFB2F9EB-EC9E-5301-897E-C7EDA7A7F627}"/>
              </a:ext>
            </a:extLst>
          </p:cNvPr>
          <p:cNvSpPr/>
          <p:nvPr/>
        </p:nvSpPr>
        <p:spPr>
          <a:xfrm>
            <a:off x="822961" y="3797694"/>
            <a:ext cx="706582" cy="783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tx1"/>
                </a:solidFill>
                <a:effectLst/>
                <a:uLnTx/>
                <a:uFillTx/>
                <a:ea typeface="+mn-ea"/>
                <a:cs typeface="+mn-cs"/>
              </a:rPr>
              <a:t>2</a:t>
            </a:r>
          </a:p>
        </p:txBody>
      </p:sp>
      <p:sp>
        <p:nvSpPr>
          <p:cNvPr id="25" name="Rectangle 24">
            <a:extLst>
              <a:ext uri="{FF2B5EF4-FFF2-40B4-BE49-F238E27FC236}">
                <a16:creationId xmlns:a16="http://schemas.microsoft.com/office/drawing/2014/main" id="{CC17C3D1-B07E-7962-E83F-26ECD11AB03D}"/>
              </a:ext>
            </a:extLst>
          </p:cNvPr>
          <p:cNvSpPr/>
          <p:nvPr/>
        </p:nvSpPr>
        <p:spPr>
          <a:xfrm>
            <a:off x="2028306" y="4081488"/>
            <a:ext cx="612370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1400" b="1" dirty="0">
                <a:solidFill>
                  <a:schemeClr val="tx1"/>
                </a:solidFill>
              </a:rPr>
              <a:t>Map the stakeholders by leveraging our 2-by-2 matrix</a:t>
            </a:r>
          </a:p>
        </p:txBody>
      </p:sp>
      <p:sp>
        <p:nvSpPr>
          <p:cNvPr id="26" name="Rectangle 25">
            <a:extLst>
              <a:ext uri="{FF2B5EF4-FFF2-40B4-BE49-F238E27FC236}">
                <a16:creationId xmlns:a16="http://schemas.microsoft.com/office/drawing/2014/main" id="{8F635009-FF6A-82E9-A585-1DB4FDF02F53}"/>
              </a:ext>
            </a:extLst>
          </p:cNvPr>
          <p:cNvSpPr/>
          <p:nvPr/>
        </p:nvSpPr>
        <p:spPr>
          <a:xfrm>
            <a:off x="1718462" y="3906601"/>
            <a:ext cx="79362" cy="5652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
        <p:nvSpPr>
          <p:cNvPr id="28" name="Rectangle 27">
            <a:extLst>
              <a:ext uri="{FF2B5EF4-FFF2-40B4-BE49-F238E27FC236}">
                <a16:creationId xmlns:a16="http://schemas.microsoft.com/office/drawing/2014/main" id="{85DFF66C-8AF7-85FF-E512-F3C79F884B09}"/>
              </a:ext>
            </a:extLst>
          </p:cNvPr>
          <p:cNvSpPr/>
          <p:nvPr/>
        </p:nvSpPr>
        <p:spPr>
          <a:xfrm>
            <a:off x="750224" y="4694627"/>
            <a:ext cx="8416636" cy="79842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29" name="Rectangle 28">
            <a:extLst>
              <a:ext uri="{FF2B5EF4-FFF2-40B4-BE49-F238E27FC236}">
                <a16:creationId xmlns:a16="http://schemas.microsoft.com/office/drawing/2014/main" id="{3682B503-520B-387F-2048-2CAC6A9B78F2}"/>
              </a:ext>
            </a:extLst>
          </p:cNvPr>
          <p:cNvSpPr/>
          <p:nvPr/>
        </p:nvSpPr>
        <p:spPr>
          <a:xfrm>
            <a:off x="822961" y="4702321"/>
            <a:ext cx="706582" cy="783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tx1"/>
                </a:solidFill>
                <a:effectLst/>
                <a:uLnTx/>
                <a:uFillTx/>
                <a:ea typeface="+mn-ea"/>
                <a:cs typeface="+mn-cs"/>
              </a:rPr>
              <a:t>3</a:t>
            </a:r>
          </a:p>
        </p:txBody>
      </p:sp>
      <p:sp>
        <p:nvSpPr>
          <p:cNvPr id="30" name="Rectangle 29">
            <a:extLst>
              <a:ext uri="{FF2B5EF4-FFF2-40B4-BE49-F238E27FC236}">
                <a16:creationId xmlns:a16="http://schemas.microsoft.com/office/drawing/2014/main" id="{4158D8A0-8667-2045-4AC4-160A464681E6}"/>
              </a:ext>
            </a:extLst>
          </p:cNvPr>
          <p:cNvSpPr/>
          <p:nvPr/>
        </p:nvSpPr>
        <p:spPr>
          <a:xfrm>
            <a:off x="2028306" y="4986115"/>
            <a:ext cx="612370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1400" b="1" dirty="0">
                <a:solidFill>
                  <a:schemeClr val="tx1"/>
                </a:solidFill>
              </a:rPr>
              <a:t>Develop an engagement strategy for each stakeholder</a:t>
            </a:r>
          </a:p>
        </p:txBody>
      </p:sp>
      <p:sp>
        <p:nvSpPr>
          <p:cNvPr id="31" name="Rectangle 30">
            <a:extLst>
              <a:ext uri="{FF2B5EF4-FFF2-40B4-BE49-F238E27FC236}">
                <a16:creationId xmlns:a16="http://schemas.microsoft.com/office/drawing/2014/main" id="{2C92E4CA-AED7-61D5-66F2-67D602F4C60F}"/>
              </a:ext>
            </a:extLst>
          </p:cNvPr>
          <p:cNvSpPr/>
          <p:nvPr/>
        </p:nvSpPr>
        <p:spPr>
          <a:xfrm>
            <a:off x="1718462" y="4811228"/>
            <a:ext cx="79362" cy="5652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
        <p:nvSpPr>
          <p:cNvPr id="33" name="Rectangle 32">
            <a:extLst>
              <a:ext uri="{FF2B5EF4-FFF2-40B4-BE49-F238E27FC236}">
                <a16:creationId xmlns:a16="http://schemas.microsoft.com/office/drawing/2014/main" id="{D67A5247-FB74-8BC4-2DCD-BEF838F7A88C}"/>
              </a:ext>
            </a:extLst>
          </p:cNvPr>
          <p:cNvSpPr/>
          <p:nvPr/>
        </p:nvSpPr>
        <p:spPr>
          <a:xfrm>
            <a:off x="750224" y="5599253"/>
            <a:ext cx="8416636" cy="79842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34" name="Rectangle 33">
            <a:extLst>
              <a:ext uri="{FF2B5EF4-FFF2-40B4-BE49-F238E27FC236}">
                <a16:creationId xmlns:a16="http://schemas.microsoft.com/office/drawing/2014/main" id="{2DD328DD-BF71-3AD5-3BEF-321B81C24959}"/>
              </a:ext>
            </a:extLst>
          </p:cNvPr>
          <p:cNvSpPr/>
          <p:nvPr/>
        </p:nvSpPr>
        <p:spPr>
          <a:xfrm>
            <a:off x="822961" y="5606947"/>
            <a:ext cx="706582" cy="783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tx1"/>
                </a:solidFill>
                <a:effectLst/>
                <a:uLnTx/>
                <a:uFillTx/>
                <a:ea typeface="+mn-ea"/>
                <a:cs typeface="+mn-cs"/>
              </a:rPr>
              <a:t>4</a:t>
            </a:r>
          </a:p>
        </p:txBody>
      </p:sp>
      <p:sp>
        <p:nvSpPr>
          <p:cNvPr id="35" name="Rectangle 34">
            <a:extLst>
              <a:ext uri="{FF2B5EF4-FFF2-40B4-BE49-F238E27FC236}">
                <a16:creationId xmlns:a16="http://schemas.microsoft.com/office/drawing/2014/main" id="{773D4FBF-B598-55A4-F2C0-36C77927A4FE}"/>
              </a:ext>
            </a:extLst>
          </p:cNvPr>
          <p:cNvSpPr/>
          <p:nvPr/>
        </p:nvSpPr>
        <p:spPr>
          <a:xfrm>
            <a:off x="2028306" y="5890741"/>
            <a:ext cx="612370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1400" b="1" dirty="0">
                <a:solidFill>
                  <a:schemeClr val="tx1"/>
                </a:solidFill>
              </a:rPr>
              <a:t>Develop an engagement detailed plan for each stakeholder</a:t>
            </a:r>
          </a:p>
        </p:txBody>
      </p:sp>
      <p:sp>
        <p:nvSpPr>
          <p:cNvPr id="36" name="Rectangle 35">
            <a:extLst>
              <a:ext uri="{FF2B5EF4-FFF2-40B4-BE49-F238E27FC236}">
                <a16:creationId xmlns:a16="http://schemas.microsoft.com/office/drawing/2014/main" id="{7E71CEAE-0F2F-7148-2EEB-FFAEFE5FDC0C}"/>
              </a:ext>
            </a:extLst>
          </p:cNvPr>
          <p:cNvSpPr/>
          <p:nvPr/>
        </p:nvSpPr>
        <p:spPr>
          <a:xfrm>
            <a:off x="1718462" y="5715854"/>
            <a:ext cx="79362" cy="5652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Tree>
    <p:extLst>
      <p:ext uri="{BB962C8B-B14F-4D97-AF65-F5344CB8AC3E}">
        <p14:creationId xmlns:p14="http://schemas.microsoft.com/office/powerpoint/2010/main" val="1324642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1005863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chemeClr val="tx1"/>
                </a:solidFill>
                <a:ea typeface="+mn-ea"/>
                <a:cs typeface="+mn-cs"/>
              </a:rPr>
              <a:t>Step 1:</a:t>
            </a:r>
            <a:r>
              <a:rPr kumimoji="0" lang="en-GB" sz="2400" b="1" i="0" u="none" strike="noStrike" kern="1200" cap="none" spc="0" normalizeH="0" baseline="0" noProof="0" dirty="0">
                <a:ln>
                  <a:noFill/>
                </a:ln>
                <a:solidFill>
                  <a:schemeClr val="tx1"/>
                </a:solidFill>
                <a:effectLst/>
                <a:uLnTx/>
                <a:uFillTx/>
                <a:ea typeface="+mn-ea"/>
                <a:cs typeface="+mn-cs"/>
              </a:rPr>
              <a:t> List the stakeholders who can influence the project or be impacted by i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5C5525D8-81F1-4A24-A0BB-F27EAE382C06}"/>
              </a:ext>
            </a:extLst>
          </p:cNvPr>
          <p:cNvGraphicFramePr>
            <a:graphicFrameLocks noGrp="1"/>
          </p:cNvGraphicFramePr>
          <p:nvPr>
            <p:extLst>
              <p:ext uri="{D42A27DB-BD31-4B8C-83A1-F6EECF244321}">
                <p14:modId xmlns:p14="http://schemas.microsoft.com/office/powerpoint/2010/main" val="1316985871"/>
              </p:ext>
            </p:extLst>
          </p:nvPr>
        </p:nvGraphicFramePr>
        <p:xfrm>
          <a:off x="609599" y="1605048"/>
          <a:ext cx="10977563" cy="4877437"/>
        </p:xfrm>
        <a:graphic>
          <a:graphicData uri="http://schemas.openxmlformats.org/drawingml/2006/table">
            <a:tbl>
              <a:tblPr firstRow="1" bandRow="1">
                <a:tableStyleId>{5C22544A-7EE6-4342-B048-85BDC9FD1C3A}</a:tableStyleId>
              </a:tblPr>
              <a:tblGrid>
                <a:gridCol w="5800437">
                  <a:extLst>
                    <a:ext uri="{9D8B030D-6E8A-4147-A177-3AD203B41FA5}">
                      <a16:colId xmlns:a16="http://schemas.microsoft.com/office/drawing/2014/main" val="2812679770"/>
                    </a:ext>
                  </a:extLst>
                </a:gridCol>
                <a:gridCol w="2605805">
                  <a:extLst>
                    <a:ext uri="{9D8B030D-6E8A-4147-A177-3AD203B41FA5}">
                      <a16:colId xmlns:a16="http://schemas.microsoft.com/office/drawing/2014/main" val="2852264056"/>
                    </a:ext>
                  </a:extLst>
                </a:gridCol>
                <a:gridCol w="2571321">
                  <a:extLst>
                    <a:ext uri="{9D8B030D-6E8A-4147-A177-3AD203B41FA5}">
                      <a16:colId xmlns:a16="http://schemas.microsoft.com/office/drawing/2014/main" val="937810905"/>
                    </a:ext>
                  </a:extLst>
                </a:gridCol>
              </a:tblGrid>
              <a:tr h="346141">
                <a:tc>
                  <a:txBody>
                    <a:bodyPr/>
                    <a:lstStyle/>
                    <a:p>
                      <a:pPr algn="ctr"/>
                      <a:r>
                        <a:rPr lang="en-US" sz="1400" dirty="0">
                          <a:solidFill>
                            <a:schemeClr val="bg1"/>
                          </a:solidFill>
                        </a:rPr>
                        <a:t>Stakeholders</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takeholder’s Influen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Impact on Stakeholder</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e.g. Suppliers, the press, the public, prospective customers, trade associations</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Tree>
    <p:extLst>
      <p:ext uri="{BB962C8B-B14F-4D97-AF65-F5344CB8AC3E}">
        <p14:creationId xmlns:p14="http://schemas.microsoft.com/office/powerpoint/2010/main" val="423301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10961605"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chemeClr val="tx1"/>
                </a:solidFill>
                <a:ea typeface="+mn-ea"/>
                <a:cs typeface="+mn-cs"/>
              </a:rPr>
              <a:t>Step 2:</a:t>
            </a:r>
            <a:r>
              <a:rPr kumimoji="0" lang="en-GB" sz="2400" b="1" i="0" u="none" strike="noStrike" kern="1200" cap="none" spc="0" normalizeH="0" baseline="0" noProof="0" dirty="0">
                <a:ln>
                  <a:noFill/>
                </a:ln>
                <a:solidFill>
                  <a:schemeClr val="tx1"/>
                </a:solidFill>
                <a:effectLst/>
                <a:uLnTx/>
                <a:uFillTx/>
                <a:ea typeface="+mn-ea"/>
                <a:cs typeface="+mn-cs"/>
              </a:rPr>
              <a:t> Map the stakeholders by leveraging our 2-by-2 matrix (1/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514113" y="1616159"/>
            <a:ext cx="10780419" cy="39600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b="1" i="0" u="none" strike="noStrike" kern="1200" cap="none" spc="0" normalizeH="0" baseline="0" noProof="0" dirty="0">
                <a:ln>
                  <a:noFill/>
                </a:ln>
                <a:solidFill>
                  <a:srgbClr val="002060"/>
                </a:solidFill>
                <a:effectLst/>
                <a:uLnTx/>
                <a:uFillTx/>
                <a:latin typeface="Arial" panose="020B0604020202020204"/>
                <a:ea typeface="+mn-ea"/>
                <a:cs typeface="+mn-cs"/>
              </a:rPr>
              <a:t>Our high-level Stakeholder Matrix will help you manage your Stakeholders effectively by mapping your stakeholders into 4 </a:t>
            </a:r>
            <a:r>
              <a:rPr lang="en-US" b="1" dirty="0">
                <a:solidFill>
                  <a:srgbClr val="002060"/>
                </a:solidFill>
                <a:latin typeface="Arial" panose="020B0604020202020204"/>
              </a:rPr>
              <a:t>different quadrants</a:t>
            </a:r>
            <a:r>
              <a:rPr kumimoji="0" lang="en-US" b="1" i="0" u="none" strike="noStrike" kern="1200" cap="none" spc="0" normalizeH="0" baseline="0" noProof="0" dirty="0">
                <a:ln>
                  <a:noFill/>
                </a:ln>
                <a:solidFill>
                  <a:srgbClr val="002060"/>
                </a:solidFill>
                <a:effectLst/>
                <a:uLnTx/>
                <a:uFillTx/>
                <a:latin typeface="Arial" panose="020B0604020202020204"/>
                <a:ea typeface="+mn-ea"/>
                <a:cs typeface="+mn-cs"/>
              </a:rPr>
              <a:t>:</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Monitor and Respond</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Keep Informed</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lang="en-AU" dirty="0">
                <a:cs typeface="Arial" charset="0"/>
              </a:rPr>
              <a:t>Collaborate</a:t>
            </a:r>
            <a:endParaRPr kumimoji="0" lang="en-US" i="0" u="none" strike="noStrike" kern="1200" cap="none" spc="0" normalizeH="0" baseline="0" noProof="0" dirty="0">
              <a:ln>
                <a:noFill/>
              </a:ln>
              <a:solidFill>
                <a:srgbClr val="002060"/>
              </a:solidFill>
              <a:effectLst/>
              <a:uLnTx/>
              <a:uFillTx/>
              <a:latin typeface="Arial" panose="020B0604020202020204"/>
              <a:ea typeface="+mn-ea"/>
              <a:cs typeface="+mn-cs"/>
            </a:endParaRP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Maintain Confidence</a:t>
            </a:r>
          </a:p>
          <a:p>
            <a:pPr marL="93662" marR="0" lvl="0" algn="l" defTabSz="914400" rtl="0" eaLnBrk="1" fontAlgn="auto" latinLnBrk="0" hangingPunct="1">
              <a:lnSpc>
                <a:spcPct val="100000"/>
              </a:lnSpc>
              <a:spcBef>
                <a:spcPts val="400"/>
              </a:spcBef>
              <a:spcAft>
                <a:spcPts val="400"/>
              </a:spcAft>
              <a:buClrTx/>
              <a:buSzTx/>
              <a:tabLst/>
              <a:defRPr/>
            </a:pPr>
            <a:endParaRPr lang="en-US" dirty="0">
              <a:solidFill>
                <a:srgbClr val="002060"/>
              </a:solidFill>
              <a:latin typeface="Arial" panose="020B0604020202020204"/>
            </a:endParaRPr>
          </a:p>
          <a:p>
            <a:pPr marL="93662" marR="0" lvl="0" algn="l" defTabSz="914400" rtl="0" eaLnBrk="1" fontAlgn="auto" latinLnBrk="0" hangingPunct="1">
              <a:lnSpc>
                <a:spcPct val="100000"/>
              </a:lnSpc>
              <a:spcBef>
                <a:spcPts val="400"/>
              </a:spcBef>
              <a:spcAft>
                <a:spcPts val="400"/>
              </a:spcAft>
              <a:buClrTx/>
              <a:buSzTx/>
              <a:tabLst/>
              <a:defRPr/>
            </a:pPr>
            <a:r>
              <a:rPr lang="en-US" b="1" dirty="0">
                <a:solidFill>
                  <a:srgbClr val="002060"/>
                </a:solidFill>
                <a:latin typeface="Arial" panose="020B0604020202020204"/>
              </a:rPr>
              <a:t>To identify in which quadrant your stakeholder belongs, you simply need to rate them based on the following 2 dimensions:</a:t>
            </a:r>
          </a:p>
          <a:p>
            <a:pPr marL="342900" indent="-249238">
              <a:spcBef>
                <a:spcPts val="400"/>
              </a:spcBef>
              <a:spcAft>
                <a:spcPts val="400"/>
              </a:spcAft>
              <a:buFont typeface="Arial" panose="020B0604020202020204" pitchFamily="34" charset="0"/>
              <a:buChar char="•"/>
              <a:defRPr/>
            </a:pPr>
            <a:r>
              <a:rPr lang="en-US" dirty="0">
                <a:solidFill>
                  <a:srgbClr val="002060"/>
                </a:solidFill>
                <a:latin typeface="Arial" panose="020B0604020202020204"/>
              </a:rPr>
              <a:t>Stakeholder’s Influence (</a:t>
            </a:r>
            <a:r>
              <a:rPr lang="en-GB" dirty="0">
                <a:solidFill>
                  <a:srgbClr val="002060"/>
                </a:solidFill>
                <a:latin typeface="Arial" panose="020B0604020202020204"/>
              </a:rPr>
              <a:t>Extent to which this group or person’s buy-in is needed to move forward)</a:t>
            </a:r>
          </a:p>
          <a:p>
            <a:pPr marL="342900" indent="-249238">
              <a:spcBef>
                <a:spcPts val="400"/>
              </a:spcBef>
              <a:spcAft>
                <a:spcPts val="400"/>
              </a:spcAft>
              <a:buFont typeface="Arial" panose="020B0604020202020204" pitchFamily="34" charset="0"/>
              <a:buChar char="•"/>
              <a:defRPr/>
            </a:pPr>
            <a:r>
              <a:rPr lang="en-US" dirty="0">
                <a:solidFill>
                  <a:srgbClr val="002060"/>
                </a:solidFill>
                <a:latin typeface="Arial" panose="020B0604020202020204"/>
              </a:rPr>
              <a:t>Impact to Stakeholder (</a:t>
            </a:r>
            <a:r>
              <a:rPr lang="en-GB" dirty="0">
                <a:solidFill>
                  <a:srgbClr val="002060"/>
                </a:solidFill>
                <a:latin typeface="Arial" panose="020B0604020202020204"/>
              </a:rPr>
              <a:t>Extent to which the project will impact this group/person)</a:t>
            </a:r>
            <a:endPar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3236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725828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ep 2: Map the stakeholders by leveraging our 2-by-2 matrix (2/3)</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Tree>
    <p:extLst>
      <p:ext uri="{BB962C8B-B14F-4D97-AF65-F5344CB8AC3E}">
        <p14:creationId xmlns:p14="http://schemas.microsoft.com/office/powerpoint/2010/main" val="20646742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704111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ep 2: Map the stakeholders by leveraging our 2-by-2 matrix (3/3)</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Executive Committe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ohn</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Raphael</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ean</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enior Management</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hareholders</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Trade Associations</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Managers</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A</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Press</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B</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uppliers</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Tree>
    <p:extLst>
      <p:ext uri="{BB962C8B-B14F-4D97-AF65-F5344CB8AC3E}">
        <p14:creationId xmlns:p14="http://schemas.microsoft.com/office/powerpoint/2010/main" val="3647286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7836871"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ep 3:</a:t>
            </a:r>
            <a:r>
              <a:rPr kumimoji="0" lang="en-GB" sz="2400" b="1" i="0" u="none" strike="noStrike" kern="1200" cap="none" spc="0" normalizeH="0" baseline="0" noProof="0" dirty="0">
                <a:ln>
                  <a:noFill/>
                </a:ln>
                <a:solidFill>
                  <a:schemeClr val="tx1"/>
                </a:solidFill>
                <a:effectLst/>
                <a:uLnTx/>
                <a:uFillTx/>
                <a:ea typeface="+mn-ea"/>
                <a:cs typeface="+mn-cs"/>
              </a:rPr>
              <a:t> Develop an engagement strategy for each stakeholder</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ohn</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Raphael</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ean</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43">
            <a:extLst>
              <a:ext uri="{FF2B5EF4-FFF2-40B4-BE49-F238E27FC236}">
                <a16:creationId xmlns:a16="http://schemas.microsoft.com/office/drawing/2014/main" id="{92857571-80F2-4ADA-42FC-A7C9AFF90382}"/>
              </a:ext>
            </a:extLst>
          </p:cNvPr>
          <p:cNvSpPr txBox="1">
            <a:spLocks noChangeArrowheads="1"/>
          </p:cNvSpPr>
          <p:nvPr/>
        </p:nvSpPr>
        <p:spPr bwMode="auto">
          <a:xfrm>
            <a:off x="2662178" y="2336114"/>
            <a:ext cx="3360932"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Put enough work in with these stakeholders to keep them satisfied, but not so much that they become bored with your message.</a:t>
            </a:r>
            <a:endParaRPr lang="en-AU" sz="1600" dirty="0">
              <a:cs typeface="Arial" charset="0"/>
            </a:endParaRPr>
          </a:p>
        </p:txBody>
      </p:sp>
      <p:sp>
        <p:nvSpPr>
          <p:cNvPr id="8" name="TextBox 44">
            <a:extLst>
              <a:ext uri="{FF2B5EF4-FFF2-40B4-BE49-F238E27FC236}">
                <a16:creationId xmlns:a16="http://schemas.microsoft.com/office/drawing/2014/main" id="{8CD469F2-05B7-9EFB-9DF2-D76358D27FDC}"/>
              </a:ext>
            </a:extLst>
          </p:cNvPr>
          <p:cNvSpPr txBox="1">
            <a:spLocks noChangeArrowheads="1"/>
          </p:cNvSpPr>
          <p:nvPr/>
        </p:nvSpPr>
        <p:spPr bwMode="auto">
          <a:xfrm>
            <a:off x="7094740" y="4320014"/>
            <a:ext cx="4382346"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Adequately inform these stakeholders, and talk to them to ensure that no major issues are arising. People in this category can often be very helpful with the detail of your project.</a:t>
            </a:r>
            <a:endParaRPr lang="en-AU" sz="1600" dirty="0">
              <a:cs typeface="Arial" charset="0"/>
            </a:endParaRPr>
          </a:p>
        </p:txBody>
      </p:sp>
      <p:sp>
        <p:nvSpPr>
          <p:cNvPr id="10" name="TextBox 42">
            <a:extLst>
              <a:ext uri="{FF2B5EF4-FFF2-40B4-BE49-F238E27FC236}">
                <a16:creationId xmlns:a16="http://schemas.microsoft.com/office/drawing/2014/main" id="{CEAB18F0-6197-0227-6997-2824B9B9D5D8}"/>
              </a:ext>
            </a:extLst>
          </p:cNvPr>
          <p:cNvSpPr txBox="1">
            <a:spLocks noChangeArrowheads="1"/>
          </p:cNvSpPr>
          <p:nvPr/>
        </p:nvSpPr>
        <p:spPr bwMode="auto">
          <a:xfrm>
            <a:off x="7233984" y="2459224"/>
            <a:ext cx="4186111"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Fully engage and collaborate with these stakeholders, and make the greatest efforts to satisfy them.</a:t>
            </a:r>
            <a:endParaRPr lang="en-AU" sz="1600" dirty="0">
              <a:cs typeface="Arial" charset="0"/>
            </a:endParaRPr>
          </a:p>
        </p:txBody>
      </p:sp>
      <p:sp>
        <p:nvSpPr>
          <p:cNvPr id="11" name="TextBox 43">
            <a:extLst>
              <a:ext uri="{FF2B5EF4-FFF2-40B4-BE49-F238E27FC236}">
                <a16:creationId xmlns:a16="http://schemas.microsoft.com/office/drawing/2014/main" id="{9AE698D7-0282-80C3-D592-CB9ECFAF70EC}"/>
              </a:ext>
            </a:extLst>
          </p:cNvPr>
          <p:cNvSpPr txBox="1">
            <a:spLocks noChangeArrowheads="1"/>
          </p:cNvSpPr>
          <p:nvPr/>
        </p:nvSpPr>
        <p:spPr bwMode="auto">
          <a:xfrm>
            <a:off x="2920686" y="4466515"/>
            <a:ext cx="2863656"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Monitor these stakeholders, but don’t bore them with excessive communication.</a:t>
            </a:r>
            <a:endParaRPr lang="en-AU" sz="1600" dirty="0">
              <a:cs typeface="Arial" charset="0"/>
            </a:endParaRPr>
          </a:p>
        </p:txBody>
      </p:sp>
    </p:spTree>
    <p:extLst>
      <p:ext uri="{BB962C8B-B14F-4D97-AF65-F5344CB8AC3E}">
        <p14:creationId xmlns:p14="http://schemas.microsoft.com/office/powerpoint/2010/main" val="3219583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7836871"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ep 3:</a:t>
            </a:r>
            <a:r>
              <a:rPr kumimoji="0" lang="en-GB" sz="2400" b="1" i="0" u="none" strike="noStrike" kern="1200" cap="none" spc="0" normalizeH="0" baseline="0" noProof="0" dirty="0">
                <a:ln>
                  <a:noFill/>
                </a:ln>
                <a:solidFill>
                  <a:schemeClr val="tx1"/>
                </a:solidFill>
                <a:effectLst/>
                <a:uLnTx/>
                <a:uFillTx/>
                <a:ea typeface="+mn-ea"/>
                <a:cs typeface="+mn-cs"/>
              </a:rPr>
              <a:t> Develop an engagement strategy for each stakeholder</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ohn</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Raphael</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ean</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43">
            <a:extLst>
              <a:ext uri="{FF2B5EF4-FFF2-40B4-BE49-F238E27FC236}">
                <a16:creationId xmlns:a16="http://schemas.microsoft.com/office/drawing/2014/main" id="{92857571-80F2-4ADA-42FC-A7C9AFF90382}"/>
              </a:ext>
            </a:extLst>
          </p:cNvPr>
          <p:cNvSpPr txBox="1">
            <a:spLocks noChangeArrowheads="1"/>
          </p:cNvSpPr>
          <p:nvPr/>
        </p:nvSpPr>
        <p:spPr bwMode="auto">
          <a:xfrm>
            <a:off x="2662178" y="2336114"/>
            <a:ext cx="3360932"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Put enough work in with these stakeholders to keep them satisfied, but not so much that they become bored with your message.</a:t>
            </a:r>
            <a:endParaRPr lang="en-AU" sz="1600" dirty="0">
              <a:cs typeface="Arial" charset="0"/>
            </a:endParaRPr>
          </a:p>
        </p:txBody>
      </p:sp>
      <p:sp>
        <p:nvSpPr>
          <p:cNvPr id="8" name="TextBox 44">
            <a:extLst>
              <a:ext uri="{FF2B5EF4-FFF2-40B4-BE49-F238E27FC236}">
                <a16:creationId xmlns:a16="http://schemas.microsoft.com/office/drawing/2014/main" id="{8CD469F2-05B7-9EFB-9DF2-D76358D27FDC}"/>
              </a:ext>
            </a:extLst>
          </p:cNvPr>
          <p:cNvSpPr txBox="1">
            <a:spLocks noChangeArrowheads="1"/>
          </p:cNvSpPr>
          <p:nvPr/>
        </p:nvSpPr>
        <p:spPr bwMode="auto">
          <a:xfrm>
            <a:off x="7094740" y="4320014"/>
            <a:ext cx="4382346"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Adequately inform these stakeholders, and talk to them to ensure that no major issues are arising. People in this category can often be very helpful with the detail of your project.</a:t>
            </a:r>
            <a:endParaRPr lang="en-AU" sz="1600" dirty="0">
              <a:cs typeface="Arial" charset="0"/>
            </a:endParaRPr>
          </a:p>
        </p:txBody>
      </p:sp>
      <p:sp>
        <p:nvSpPr>
          <p:cNvPr id="10" name="TextBox 42">
            <a:extLst>
              <a:ext uri="{FF2B5EF4-FFF2-40B4-BE49-F238E27FC236}">
                <a16:creationId xmlns:a16="http://schemas.microsoft.com/office/drawing/2014/main" id="{CEAB18F0-6197-0227-6997-2824B9B9D5D8}"/>
              </a:ext>
            </a:extLst>
          </p:cNvPr>
          <p:cNvSpPr txBox="1">
            <a:spLocks noChangeArrowheads="1"/>
          </p:cNvSpPr>
          <p:nvPr/>
        </p:nvSpPr>
        <p:spPr bwMode="auto">
          <a:xfrm>
            <a:off x="7233984" y="2459224"/>
            <a:ext cx="4186111"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Fully engage and collaborate with these stakeholders, and make the greatest efforts to satisfy them.</a:t>
            </a:r>
            <a:endParaRPr lang="en-AU" sz="1600" dirty="0">
              <a:cs typeface="Arial" charset="0"/>
            </a:endParaRPr>
          </a:p>
        </p:txBody>
      </p:sp>
      <p:sp>
        <p:nvSpPr>
          <p:cNvPr id="11" name="TextBox 43">
            <a:extLst>
              <a:ext uri="{FF2B5EF4-FFF2-40B4-BE49-F238E27FC236}">
                <a16:creationId xmlns:a16="http://schemas.microsoft.com/office/drawing/2014/main" id="{9AE698D7-0282-80C3-D592-CB9ECFAF70EC}"/>
              </a:ext>
            </a:extLst>
          </p:cNvPr>
          <p:cNvSpPr txBox="1">
            <a:spLocks noChangeArrowheads="1"/>
          </p:cNvSpPr>
          <p:nvPr/>
        </p:nvSpPr>
        <p:spPr bwMode="auto">
          <a:xfrm>
            <a:off x="2920686" y="4466515"/>
            <a:ext cx="2863656"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Monitor these stakeholders, but don’t bore them with excessive communication.</a:t>
            </a:r>
            <a:endParaRPr lang="en-AU" sz="1600" dirty="0">
              <a:cs typeface="Arial" charset="0"/>
            </a:endParaRPr>
          </a:p>
        </p:txBody>
      </p:sp>
      <p:sp>
        <p:nvSpPr>
          <p:cNvPr id="12" name="Speech Bubble: Rectangle with Corners Rounded 11">
            <a:extLst>
              <a:ext uri="{FF2B5EF4-FFF2-40B4-BE49-F238E27FC236}">
                <a16:creationId xmlns:a16="http://schemas.microsoft.com/office/drawing/2014/main" id="{F2468098-A5B4-99E3-D27D-DA67BC34304E}"/>
              </a:ext>
            </a:extLst>
          </p:cNvPr>
          <p:cNvSpPr/>
          <p:nvPr/>
        </p:nvSpPr>
        <p:spPr>
          <a:xfrm>
            <a:off x="4342644" y="3705739"/>
            <a:ext cx="4267200" cy="1266940"/>
          </a:xfrm>
          <a:prstGeom prst="wedgeRoundRectCallout">
            <a:avLst>
              <a:gd name="adj1" fmla="val -41367"/>
              <a:gd name="adj2" fmla="val -11293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solidFill>
                  <a:srgbClr val="0C2870"/>
                </a:solidFill>
                <a:latin typeface="Arial" charset="0"/>
                <a:cs typeface="Times New Roman" pitchFamily="18" charset="0"/>
              </a:rPr>
              <a:t>Feel free to customize each strategy based on the specificities of your situation</a:t>
            </a:r>
          </a:p>
        </p:txBody>
      </p:sp>
    </p:spTree>
    <p:extLst>
      <p:ext uri="{BB962C8B-B14F-4D97-AF65-F5344CB8AC3E}">
        <p14:creationId xmlns:p14="http://schemas.microsoft.com/office/powerpoint/2010/main" val="16706196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D36831-1398-6A76-EC8E-E9312BC604FE}"/>
              </a:ext>
            </a:extLst>
          </p:cNvPr>
          <p:cNvPicPr>
            <a:picLocks noChangeAspect="1"/>
          </p:cNvPicPr>
          <p:nvPr/>
        </p:nvPicPr>
        <p:blipFill>
          <a:blip r:embed="rId3"/>
          <a:stretch>
            <a:fillRect/>
          </a:stretch>
        </p:blipFill>
        <p:spPr>
          <a:xfrm>
            <a:off x="842493" y="2025806"/>
            <a:ext cx="9970287" cy="3867333"/>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88857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defTabSz="914400" fontAlgn="auto">
              <a:spcBef>
                <a:spcPts val="0"/>
              </a:spcBef>
              <a:spcAft>
                <a:spcPts val="0"/>
              </a:spcAft>
              <a:defRPr/>
            </a:pPr>
            <a:r>
              <a:rPr lang="en-GB" sz="2400" dirty="0">
                <a:solidFill>
                  <a:schemeClr val="tx1"/>
                </a:solidFill>
                <a:ea typeface="+mn-ea"/>
                <a:cs typeface="+mn-cs"/>
              </a:rPr>
              <a:t>Step 4: </a:t>
            </a:r>
            <a:r>
              <a:rPr lang="en-GB" sz="2400" b="1" dirty="0">
                <a:solidFill>
                  <a:schemeClr val="tx1"/>
                </a:solidFill>
              </a:rPr>
              <a:t>Develop an </a:t>
            </a:r>
            <a:r>
              <a:rPr lang="en-GB" sz="2400" b="1">
                <a:solidFill>
                  <a:schemeClr val="tx1"/>
                </a:solidFill>
              </a:rPr>
              <a:t>engagement detailed </a:t>
            </a:r>
            <a:r>
              <a:rPr lang="en-GB" sz="2400" b="1" dirty="0">
                <a:solidFill>
                  <a:schemeClr val="tx1"/>
                </a:solidFill>
              </a:rPr>
              <a:t>plan for each stakeholder</a:t>
            </a:r>
            <a:endParaRPr kumimoji="0" lang="en-GB" sz="2400" b="1" i="0" u="none" strike="noStrike" kern="1200" cap="none" spc="0" normalizeH="0" baseline="0" noProof="0" dirty="0">
              <a:ln>
                <a:noFill/>
              </a:ln>
              <a:solidFill>
                <a:schemeClr val="tx1"/>
              </a:solidFill>
              <a:effectLst/>
              <a:uLnTx/>
              <a:uFillTx/>
              <a:ea typeface="+mn-ea"/>
              <a:cs typeface="+mn-cs"/>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114" name="Picture 113">
            <a:extLst>
              <a:ext uri="{FF2B5EF4-FFF2-40B4-BE49-F238E27FC236}">
                <a16:creationId xmlns:a16="http://schemas.microsoft.com/office/drawing/2014/main" id="{7A1BDBA4-D060-4EBE-B6E3-8079EB2C32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60202" y="1587528"/>
            <a:ext cx="853696" cy="853696"/>
          </a:xfrm>
          <a:prstGeom prst="rect">
            <a:avLst/>
          </a:prstGeom>
        </p:spPr>
      </p:pic>
    </p:spTree>
    <p:extLst>
      <p:ext uri="{BB962C8B-B14F-4D97-AF65-F5344CB8AC3E}">
        <p14:creationId xmlns:p14="http://schemas.microsoft.com/office/powerpoint/2010/main" val="471658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072C5-DDE0-4258-BA7A-4D4B80DFA632}">
  <ds:schemaRefs>
    <ds:schemaRef ds:uri="http://purl.org/dc/elements/1.1/"/>
    <ds:schemaRef ds:uri="http://purl.org/dc/terms/"/>
    <ds:schemaRef ds:uri="http://schemas.microsoft.com/office/2006/documentManagement/types"/>
    <ds:schemaRef ds:uri="http://purl.org/dc/dcmitype/"/>
    <ds:schemaRef ds:uri="http://schemas.microsoft.com/office/infopath/2007/PartnerControls"/>
    <ds:schemaRef ds:uri="71af3243-3dd4-4a8d-8c0d-dd76da1f02a5"/>
    <ds:schemaRef ds:uri="http://schemas.microsoft.com/office/2006/metadata/properties"/>
    <ds:schemaRef ds:uri="http://schemas.openxmlformats.org/package/2006/metadata/core-properties"/>
    <ds:schemaRef ds:uri="16c05727-aa75-4e4a-9b5f-8a80a1165891"/>
    <ds:schemaRef ds:uri="http://www.w3.org/XML/1998/namespace"/>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14</TotalTime>
  <Words>1353</Words>
  <Application>Microsoft Office PowerPoint</Application>
  <PresentationFormat>Widescreen</PresentationFormat>
  <Paragraphs>225</Paragraphs>
  <Slides>12</Slides>
  <Notes>8</Notes>
  <HiddenSlides>0</HiddenSlides>
  <MMClips>0</MMClips>
  <ScaleCrop>false</ScaleCrop>
  <HeadingPairs>
    <vt:vector size="8" baseType="variant">
      <vt:variant>
        <vt:lpstr>Fonts Used</vt:lpstr>
      </vt:variant>
      <vt:variant>
        <vt:i4>2</vt:i4>
      </vt:variant>
      <vt:variant>
        <vt:lpstr>Theme</vt:lpstr>
      </vt:variant>
      <vt:variant>
        <vt:i4>10</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Stakeholder Engagement Strategy Tutorial &amp; Template</vt:lpstr>
      <vt:lpstr>Stakeholder Engagement Strategy Overview</vt:lpstr>
      <vt:lpstr>Step 1: List the stakeholders who can influence the project or be impacted by it</vt:lpstr>
      <vt:lpstr>Step 2: Map the stakeholders by leveraging our 2-by-2 matrix (1/3)</vt:lpstr>
      <vt:lpstr>Step 2: Map the stakeholders by leveraging our 2-by-2 matrix (2/3)</vt:lpstr>
      <vt:lpstr>Step 2: Map the stakeholders by leveraging our 2-by-2 matrix (3/3)</vt:lpstr>
      <vt:lpstr>Step 3: Develop an engagement strategy for each stakeholder</vt:lpstr>
      <vt:lpstr>Step 3: Develop an engagement strategy for each stakeholder</vt:lpstr>
      <vt:lpstr>Step 4: Develop an engagement detailed plan for each stakeholder</vt:lpstr>
      <vt:lpstr>Need more help? Our ex-McKinsey, Deloitte &amp; BCG Consultants have created 19 Management Consulting Toolkits available at www.domontconsulting.com</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5</cp:revision>
  <dcterms:created xsi:type="dcterms:W3CDTF">2020-07-08T04:44:55Z</dcterms:created>
  <dcterms:modified xsi:type="dcterms:W3CDTF">2023-10-05T03:43:2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